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  <p:sldMasterId id="2147483710" r:id="rId5"/>
    <p:sldMasterId id="2147483869" r:id="rId6"/>
  </p:sldMasterIdLst>
  <p:notesMasterIdLst>
    <p:notesMasterId r:id="rId22"/>
  </p:notesMasterIdLst>
  <p:sldIdLst>
    <p:sldId id="500" r:id="rId7"/>
    <p:sldId id="2142533203" r:id="rId8"/>
    <p:sldId id="2142533204" r:id="rId9"/>
    <p:sldId id="2142533211" r:id="rId10"/>
    <p:sldId id="2142533205" r:id="rId11"/>
    <p:sldId id="2142533212" r:id="rId12"/>
    <p:sldId id="2142533206" r:id="rId13"/>
    <p:sldId id="2142533213" r:id="rId14"/>
    <p:sldId id="2142533207" r:id="rId15"/>
    <p:sldId id="2142533214" r:id="rId16"/>
    <p:sldId id="2142533208" r:id="rId17"/>
    <p:sldId id="2142533215" r:id="rId18"/>
    <p:sldId id="2142533209" r:id="rId19"/>
    <p:sldId id="2142533216" r:id="rId20"/>
    <p:sldId id="290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1601EA6-976F-ED47-B1E5-351FD3307585}">
          <p14:sldIdLst>
            <p14:sldId id="500"/>
            <p14:sldId id="2142533203"/>
          </p14:sldIdLst>
        </p14:section>
        <p14:section name="Onboard" id="{6F5AEC36-01B5-6446-B62F-2181DD70D448}">
          <p14:sldIdLst>
            <p14:sldId id="2142533204"/>
            <p14:sldId id="2142533211"/>
          </p14:sldIdLst>
        </p14:section>
        <p14:section name="Implement" id="{C9D6BEB2-5654-4E49-A520-CFA5B82DC996}">
          <p14:sldIdLst>
            <p14:sldId id="2142533205"/>
            <p14:sldId id="2142533212"/>
          </p14:sldIdLst>
        </p14:section>
        <p14:section name="Use" id="{DF726D2A-B63E-DC49-AFAB-89735CBC81C5}">
          <p14:sldIdLst>
            <p14:sldId id="2142533206"/>
            <p14:sldId id="2142533213"/>
          </p14:sldIdLst>
        </p14:section>
        <p14:section name="Engage" id="{7DC08C9C-A605-4F4E-9E48-9F8FB78341D2}">
          <p14:sldIdLst>
            <p14:sldId id="2142533207"/>
            <p14:sldId id="2142533214"/>
          </p14:sldIdLst>
        </p14:section>
        <p14:section name="Adopt" id="{DA3DE0CE-60A9-9544-A6DD-3A3B4524C955}">
          <p14:sldIdLst>
            <p14:sldId id="2142533208"/>
            <p14:sldId id="2142533215"/>
          </p14:sldIdLst>
        </p14:section>
        <p14:section name="Optimize" id="{1F9DEA62-2586-1D47-9AD6-98B9589BD6A6}">
          <p14:sldIdLst>
            <p14:sldId id="2142533209"/>
            <p14:sldId id="2142533216"/>
          </p14:sldIdLst>
        </p14:section>
        <p14:section name="Recommendation" id="{7158982D-EDD8-AD4C-995D-4209A00D6863}">
          <p14:sldIdLst>
            <p14:sldId id="29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m Long (samlong)" initials="S(" lastIdx="3" clrIdx="0">
    <p:extLst>
      <p:ext uri="{19B8F6BF-5375-455C-9EA6-DF929625EA0E}">
        <p15:presenceInfo xmlns:p15="http://schemas.microsoft.com/office/powerpoint/2012/main" userId="S::samlong@cisco.com::443d9e39-f743-4c59-a022-82084f7e16ee" providerId="AD"/>
      </p:ext>
    </p:extLst>
  </p:cmAuthor>
  <p:cmAuthor id="2" name="Devanne Parent (deparent)" initials="DP(" lastIdx="2" clrIdx="1">
    <p:extLst>
      <p:ext uri="{19B8F6BF-5375-455C-9EA6-DF929625EA0E}">
        <p15:presenceInfo xmlns:p15="http://schemas.microsoft.com/office/powerpoint/2012/main" userId="S::deparent@cisco.com::2b371fcf-417a-4a08-8b19-42dade249c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448FAAB-87D4-C540-A5E0-E181763F0DC2}" v="6" dt="2022-12-09T15:24:15.927"/>
    <p1510:client id="{66BE813D-85BF-5C73-E236-A45156E57770}" v="19" dt="2022-12-09T17:38:16.978"/>
    <p1510:client id="{89A3D6A0-660E-F46C-FEA1-697E70F3E6C8}" v="462" dt="2023-03-14T14:55:15.84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289"/>
    <p:restoredTop sz="94720"/>
  </p:normalViewPr>
  <p:slideViewPr>
    <p:cSldViewPr snapToGrid="0">
      <p:cViewPr varScale="1">
        <p:scale>
          <a:sx n="211" d="100"/>
          <a:sy n="211" d="100"/>
        </p:scale>
        <p:origin x="632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2657A2-7B7A-174B-A542-3B4C9FC943CD}" type="datetimeFigureOut">
              <a:rPr lang="en-US" smtClean="0"/>
              <a:t>4/21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E6723D-4E20-2747-B1F0-073EAB1582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242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5703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2942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5994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2335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4255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9922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593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4429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9423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1679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1078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270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63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C474B546-7534-7747-B92C-66B355F685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C2AEE611-0180-1C48-B312-BDE16D87BB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234DA90B-65B5-EB42-90D3-2E1453CCD6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4D2B05F-8A6E-CC44-BA7A-41AFBE619B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9787210-3CDA-474D-9A48-E7EDDE06F7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D38B836C-B0C7-814B-BFF8-36B223B33C0C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237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85800" y="6346259"/>
            <a:ext cx="10820400" cy="287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A0C5BC37-C5EC-654F-8D9D-DB712FAAE74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246626-3E08-4AE1-B9E1-CD2DC3307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ED3633E-1053-4584-9C29-16CDF49CD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616578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D57DA5F-CFD4-1949-91E1-C71CA247F0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604000" cy="6859588"/>
          </a:xfrm>
          <a:custGeom>
            <a:avLst/>
            <a:gdLst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7045325 w 7045325"/>
              <a:gd name="connsiteY2" fmla="*/ 1588 h 6859588"/>
              <a:gd name="connsiteX3" fmla="*/ 6649827 w 7045325"/>
              <a:gd name="connsiteY3" fmla="*/ 1588 h 6859588"/>
              <a:gd name="connsiteX4" fmla="*/ 6096000 w 7045325"/>
              <a:gd name="connsiteY4" fmla="*/ 1588 h 6859588"/>
              <a:gd name="connsiteX5" fmla="*/ 6096000 w 7045325"/>
              <a:gd name="connsiteY5" fmla="*/ 6351588 h 6859588"/>
              <a:gd name="connsiteX6" fmla="*/ 6604000 w 7045325"/>
              <a:gd name="connsiteY6" fmla="*/ 6859588 h 6859588"/>
              <a:gd name="connsiteX7" fmla="*/ 0 w 7045325"/>
              <a:gd name="connsiteY7" fmla="*/ 6859588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649827 w 7045325"/>
              <a:gd name="connsiteY2" fmla="*/ 1588 h 6859588"/>
              <a:gd name="connsiteX3" fmla="*/ 6096000 w 7045325"/>
              <a:gd name="connsiteY3" fmla="*/ 1588 h 6859588"/>
              <a:gd name="connsiteX4" fmla="*/ 6096000 w 7045325"/>
              <a:gd name="connsiteY4" fmla="*/ 6351588 h 6859588"/>
              <a:gd name="connsiteX5" fmla="*/ 6604000 w 7045325"/>
              <a:gd name="connsiteY5" fmla="*/ 6859588 h 6859588"/>
              <a:gd name="connsiteX6" fmla="*/ 0 w 7045325"/>
              <a:gd name="connsiteY6" fmla="*/ 6859588 h 6859588"/>
              <a:gd name="connsiteX7" fmla="*/ 0 w 7045325"/>
              <a:gd name="connsiteY7" fmla="*/ 0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096000 w 7045325"/>
              <a:gd name="connsiteY2" fmla="*/ 1588 h 6859588"/>
              <a:gd name="connsiteX3" fmla="*/ 6096000 w 7045325"/>
              <a:gd name="connsiteY3" fmla="*/ 6351588 h 6859588"/>
              <a:gd name="connsiteX4" fmla="*/ 6604000 w 7045325"/>
              <a:gd name="connsiteY4" fmla="*/ 6859588 h 6859588"/>
              <a:gd name="connsiteX5" fmla="*/ 0 w 7045325"/>
              <a:gd name="connsiteY5" fmla="*/ 6859588 h 6859588"/>
              <a:gd name="connsiteX6" fmla="*/ 0 w 7045325"/>
              <a:gd name="connsiteY6" fmla="*/ 0 h 6859588"/>
              <a:gd name="connsiteX0" fmla="*/ 0 w 6604000"/>
              <a:gd name="connsiteY0" fmla="*/ 0 h 6859588"/>
              <a:gd name="connsiteX1" fmla="*/ 6096000 w 6604000"/>
              <a:gd name="connsiteY1" fmla="*/ 1588 h 6859588"/>
              <a:gd name="connsiteX2" fmla="*/ 6096000 w 6604000"/>
              <a:gd name="connsiteY2" fmla="*/ 6351588 h 6859588"/>
              <a:gd name="connsiteX3" fmla="*/ 6604000 w 6604000"/>
              <a:gd name="connsiteY3" fmla="*/ 6859588 h 6859588"/>
              <a:gd name="connsiteX4" fmla="*/ 0 w 6604000"/>
              <a:gd name="connsiteY4" fmla="*/ 6859588 h 6859588"/>
              <a:gd name="connsiteX5" fmla="*/ 0 w 6604000"/>
              <a:gd name="connsiteY5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4000" h="6859588">
                <a:moveTo>
                  <a:pt x="0" y="0"/>
                </a:moveTo>
                <a:lnTo>
                  <a:pt x="6096000" y="1588"/>
                </a:lnTo>
                <a:lnTo>
                  <a:pt x="6096000" y="6351588"/>
                </a:lnTo>
                <a:cubicBezTo>
                  <a:pt x="6096000" y="6632576"/>
                  <a:pt x="6323013" y="6859588"/>
                  <a:pt x="6604000" y="6859588"/>
                </a:cubicBezTo>
                <a:lnTo>
                  <a:pt x="0" y="685958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3F30A608-D08A-40A0-96DA-1A3308173D6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72240" y="2209800"/>
            <a:ext cx="4927623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214360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F1B78A7-DDF3-594F-BEC1-BCF1A1D264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27863" y="0"/>
            <a:ext cx="5164137" cy="6858000"/>
          </a:xfrm>
          <a:custGeom>
            <a:avLst/>
            <a:gdLst>
              <a:gd name="connsiteX0" fmla="*/ 508000 w 5164137"/>
              <a:gd name="connsiteY0" fmla="*/ 0 h 6858000"/>
              <a:gd name="connsiteX1" fmla="*/ 5164137 w 5164137"/>
              <a:gd name="connsiteY1" fmla="*/ 0 h 6858000"/>
              <a:gd name="connsiteX2" fmla="*/ 5164137 w 5164137"/>
              <a:gd name="connsiteY2" fmla="*/ 6858000 h 6858000"/>
              <a:gd name="connsiteX3" fmla="*/ 0 w 5164137"/>
              <a:gd name="connsiteY3" fmla="*/ 6858000 h 6858000"/>
              <a:gd name="connsiteX4" fmla="*/ 508000 w 5164137"/>
              <a:gd name="connsiteY4" fmla="*/ 6350000 h 6858000"/>
              <a:gd name="connsiteX5" fmla="*/ 508000 w 5164137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4137" h="6858000">
                <a:moveTo>
                  <a:pt x="508000" y="0"/>
                </a:moveTo>
                <a:lnTo>
                  <a:pt x="5164137" y="0"/>
                </a:lnTo>
                <a:lnTo>
                  <a:pt x="5164137" y="6858000"/>
                </a:lnTo>
                <a:lnTo>
                  <a:pt x="0" y="6858000"/>
                </a:lnTo>
                <a:cubicBezTo>
                  <a:pt x="279400" y="6858000"/>
                  <a:pt x="508000" y="6630988"/>
                  <a:pt x="508000" y="6350000"/>
                </a:cubicBezTo>
                <a:cubicBezTo>
                  <a:pt x="508000" y="0"/>
                  <a:pt x="508000" y="0"/>
                  <a:pt x="50800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4F9D8E-790C-4733-AD03-0624149AD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6434185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21432A2-9239-4A4D-A8B5-3DEE975F13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489490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00" y="685800"/>
            <a:ext cx="6434184" cy="397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B1B087-16F2-FA4F-A732-352E16699F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164137" cy="6858000"/>
          </a:xfrm>
          <a:custGeom>
            <a:avLst/>
            <a:gdLst>
              <a:gd name="connsiteX0" fmla="*/ 0 w 5164137"/>
              <a:gd name="connsiteY0" fmla="*/ 0 h 6858000"/>
              <a:gd name="connsiteX1" fmla="*/ 4656137 w 5164137"/>
              <a:gd name="connsiteY1" fmla="*/ 0 h 6858000"/>
              <a:gd name="connsiteX2" fmla="*/ 4656137 w 5164137"/>
              <a:gd name="connsiteY2" fmla="*/ 6350000 h 6858000"/>
              <a:gd name="connsiteX3" fmla="*/ 5164137 w 5164137"/>
              <a:gd name="connsiteY3" fmla="*/ 6858000 h 6858000"/>
              <a:gd name="connsiteX4" fmla="*/ 0 w 51641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64137" h="6858000">
                <a:moveTo>
                  <a:pt x="0" y="0"/>
                </a:moveTo>
                <a:lnTo>
                  <a:pt x="4656137" y="0"/>
                </a:lnTo>
                <a:cubicBezTo>
                  <a:pt x="4656137" y="0"/>
                  <a:pt x="4656137" y="0"/>
                  <a:pt x="4656137" y="6350000"/>
                </a:cubicBezTo>
                <a:cubicBezTo>
                  <a:pt x="4656137" y="6630988"/>
                  <a:pt x="4884738" y="6858000"/>
                  <a:pt x="5164137" y="6858000"/>
                </a:cubicBez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0225D27-6846-41EC-8F98-B022448E0F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45100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056582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23F638-B04C-A04E-81E5-139F1E369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0331" y="0"/>
            <a:ext cx="5291670" cy="6859588"/>
          </a:xfrm>
          <a:custGeom>
            <a:avLst/>
            <a:gdLst>
              <a:gd name="connsiteX0" fmla="*/ 0 w 6862011"/>
              <a:gd name="connsiteY0" fmla="*/ 0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862011"/>
              <a:gd name="connsiteY0" fmla="*/ 1588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652150"/>
              <a:gd name="connsiteY0" fmla="*/ 1588 h 6859588"/>
              <a:gd name="connsiteX1" fmla="*/ 6652150 w 6652150"/>
              <a:gd name="connsiteY1" fmla="*/ 0 h 6859588"/>
              <a:gd name="connsiteX2" fmla="*/ 6652150 w 6652150"/>
              <a:gd name="connsiteY2" fmla="*/ 6859588 h 6859588"/>
              <a:gd name="connsiteX3" fmla="*/ 4788426 w 6652150"/>
              <a:gd name="connsiteY3" fmla="*/ 6859588 h 6859588"/>
              <a:gd name="connsiteX4" fmla="*/ 1360480 w 6652150"/>
              <a:gd name="connsiteY4" fmla="*/ 3430588 h 6859588"/>
              <a:gd name="connsiteX5" fmla="*/ 4788426 w 6652150"/>
              <a:gd name="connsiteY5" fmla="*/ 1588 h 6859588"/>
              <a:gd name="connsiteX6" fmla="*/ 0 w 6652150"/>
              <a:gd name="connsiteY6" fmla="*/ 1588 h 6859588"/>
              <a:gd name="connsiteX0" fmla="*/ 3427946 w 5291670"/>
              <a:gd name="connsiteY0" fmla="*/ 1588 h 6859588"/>
              <a:gd name="connsiteX1" fmla="*/ 5291670 w 5291670"/>
              <a:gd name="connsiteY1" fmla="*/ 0 h 6859588"/>
              <a:gd name="connsiteX2" fmla="*/ 5291670 w 5291670"/>
              <a:gd name="connsiteY2" fmla="*/ 6859588 h 6859588"/>
              <a:gd name="connsiteX3" fmla="*/ 3427946 w 5291670"/>
              <a:gd name="connsiteY3" fmla="*/ 6859588 h 6859588"/>
              <a:gd name="connsiteX4" fmla="*/ 0 w 5291670"/>
              <a:gd name="connsiteY4" fmla="*/ 3430588 h 6859588"/>
              <a:gd name="connsiteX5" fmla="*/ 3427946 w 5291670"/>
              <a:gd name="connsiteY5" fmla="*/ 1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91670" h="6859588">
                <a:moveTo>
                  <a:pt x="3427946" y="1588"/>
                </a:moveTo>
                <a:lnTo>
                  <a:pt x="5291670" y="0"/>
                </a:lnTo>
                <a:lnTo>
                  <a:pt x="5291670" y="6859588"/>
                </a:lnTo>
                <a:lnTo>
                  <a:pt x="3427946" y="6859588"/>
                </a:lnTo>
                <a:cubicBezTo>
                  <a:pt x="1536227" y="6859588"/>
                  <a:pt x="0" y="5324476"/>
                  <a:pt x="0" y="3430588"/>
                </a:cubicBezTo>
                <a:cubicBezTo>
                  <a:pt x="0" y="1536701"/>
                  <a:pt x="1536227" y="1588"/>
                  <a:pt x="3427946" y="15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0D8EC6-C907-4441-BEDC-6F8A4D6F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8452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9F64AE6-0FEC-48A6-A474-727C244050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8452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661033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00D54B5-B21B-B648-BDAA-E3E05B45ED1F}"/>
              </a:ext>
            </a:extLst>
          </p:cNvPr>
          <p:cNvSpPr/>
          <p:nvPr userDrawn="1"/>
        </p:nvSpPr>
        <p:spPr>
          <a:xfrm>
            <a:off x="499730" y="6241312"/>
            <a:ext cx="4109484" cy="48909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217A76-F276-AB48-BC7A-8A72469539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91671" cy="6858000"/>
          </a:xfrm>
          <a:custGeom>
            <a:avLst/>
            <a:gdLst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6346825 w 6346825"/>
              <a:gd name="connsiteY2" fmla="*/ 1588 h 6858000"/>
              <a:gd name="connsiteX3" fmla="*/ 5988037 w 6346825"/>
              <a:gd name="connsiteY3" fmla="*/ 1588 h 6858000"/>
              <a:gd name="connsiteX4" fmla="*/ 1863724 w 6346825"/>
              <a:gd name="connsiteY4" fmla="*/ 1588 h 6858000"/>
              <a:gd name="connsiteX5" fmla="*/ 5291671 w 6346825"/>
              <a:gd name="connsiteY5" fmla="*/ 3430588 h 6858000"/>
              <a:gd name="connsiteX6" fmla="*/ 2039995 w 6346825"/>
              <a:gd name="connsiteY6" fmla="*/ 6855127 h 6858000"/>
              <a:gd name="connsiteX7" fmla="*/ 1926466 w 6346825"/>
              <a:gd name="connsiteY7" fmla="*/ 6858000 h 6858000"/>
              <a:gd name="connsiteX8" fmla="*/ 0 w 6346825"/>
              <a:gd name="connsiteY8" fmla="*/ 6858000 h 6858000"/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5988037 w 6346825"/>
              <a:gd name="connsiteY2" fmla="*/ 1588 h 6858000"/>
              <a:gd name="connsiteX3" fmla="*/ 1863724 w 6346825"/>
              <a:gd name="connsiteY3" fmla="*/ 1588 h 6858000"/>
              <a:gd name="connsiteX4" fmla="*/ 5291671 w 6346825"/>
              <a:gd name="connsiteY4" fmla="*/ 3430588 h 6858000"/>
              <a:gd name="connsiteX5" fmla="*/ 2039995 w 6346825"/>
              <a:gd name="connsiteY5" fmla="*/ 6855127 h 6858000"/>
              <a:gd name="connsiteX6" fmla="*/ 1926466 w 6346825"/>
              <a:gd name="connsiteY6" fmla="*/ 6858000 h 6858000"/>
              <a:gd name="connsiteX7" fmla="*/ 0 w 6346825"/>
              <a:gd name="connsiteY7" fmla="*/ 6858000 h 6858000"/>
              <a:gd name="connsiteX8" fmla="*/ 0 w 6346825"/>
              <a:gd name="connsiteY8" fmla="*/ 0 h 6858000"/>
              <a:gd name="connsiteX0" fmla="*/ 0 w 5988037"/>
              <a:gd name="connsiteY0" fmla="*/ 0 h 6858000"/>
              <a:gd name="connsiteX1" fmla="*/ 5988037 w 5988037"/>
              <a:gd name="connsiteY1" fmla="*/ 1588 h 6858000"/>
              <a:gd name="connsiteX2" fmla="*/ 1863724 w 5988037"/>
              <a:gd name="connsiteY2" fmla="*/ 1588 h 6858000"/>
              <a:gd name="connsiteX3" fmla="*/ 5291671 w 5988037"/>
              <a:gd name="connsiteY3" fmla="*/ 3430588 h 6858000"/>
              <a:gd name="connsiteX4" fmla="*/ 2039995 w 5988037"/>
              <a:gd name="connsiteY4" fmla="*/ 6855127 h 6858000"/>
              <a:gd name="connsiteX5" fmla="*/ 1926466 w 5988037"/>
              <a:gd name="connsiteY5" fmla="*/ 6858000 h 6858000"/>
              <a:gd name="connsiteX6" fmla="*/ 0 w 5988037"/>
              <a:gd name="connsiteY6" fmla="*/ 6858000 h 6858000"/>
              <a:gd name="connsiteX7" fmla="*/ 0 w 5988037"/>
              <a:gd name="connsiteY7" fmla="*/ 0 h 6858000"/>
              <a:gd name="connsiteX0" fmla="*/ 0 w 5291671"/>
              <a:gd name="connsiteY0" fmla="*/ 0 h 6858000"/>
              <a:gd name="connsiteX1" fmla="*/ 1863724 w 5291671"/>
              <a:gd name="connsiteY1" fmla="*/ 1588 h 6858000"/>
              <a:gd name="connsiteX2" fmla="*/ 5291671 w 5291671"/>
              <a:gd name="connsiteY2" fmla="*/ 3430588 h 6858000"/>
              <a:gd name="connsiteX3" fmla="*/ 2039995 w 5291671"/>
              <a:gd name="connsiteY3" fmla="*/ 6855127 h 6858000"/>
              <a:gd name="connsiteX4" fmla="*/ 1926466 w 5291671"/>
              <a:gd name="connsiteY4" fmla="*/ 6858000 h 6858000"/>
              <a:gd name="connsiteX5" fmla="*/ 0 w 5291671"/>
              <a:gd name="connsiteY5" fmla="*/ 6858000 h 6858000"/>
              <a:gd name="connsiteX6" fmla="*/ 0 w 529167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1671" h="6858000">
                <a:moveTo>
                  <a:pt x="0" y="0"/>
                </a:moveTo>
                <a:lnTo>
                  <a:pt x="1863724" y="1588"/>
                </a:lnTo>
                <a:cubicBezTo>
                  <a:pt x="3755443" y="1588"/>
                  <a:pt x="5291671" y="1536701"/>
                  <a:pt x="5291671" y="3430588"/>
                </a:cubicBezTo>
                <a:cubicBezTo>
                  <a:pt x="5291671" y="5265292"/>
                  <a:pt x="3849957" y="6763293"/>
                  <a:pt x="2039995" y="6855127"/>
                </a:cubicBezTo>
                <a:lnTo>
                  <a:pt x="192646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396E18E-2DBE-4E25-B72B-F7AEEB868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399" y="1765300"/>
            <a:ext cx="560546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C6B682-AE88-4680-8341-961E4BC2C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3334" y="627798"/>
            <a:ext cx="5605464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971276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6653620" y="508446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F131F91E-8165-AB41-983B-510946DFC34F}"/>
              </a:ext>
            </a:extLst>
          </p:cNvPr>
          <p:cNvSpPr>
            <a:spLocks noChangeAspect="1"/>
          </p:cNvSpPr>
          <p:nvPr userDrawn="1"/>
        </p:nvSpPr>
        <p:spPr>
          <a:xfrm>
            <a:off x="11309668" y="343255"/>
            <a:ext cx="882332" cy="1258490"/>
          </a:xfrm>
          <a:custGeom>
            <a:avLst/>
            <a:gdLst>
              <a:gd name="connsiteX0" fmla="*/ 736802 w 882332"/>
              <a:gd name="connsiteY0" fmla="*/ 0 h 1258490"/>
              <a:gd name="connsiteX1" fmla="*/ 882332 w 882332"/>
              <a:gd name="connsiteY1" fmla="*/ 3724 h 1258490"/>
              <a:gd name="connsiteX2" fmla="*/ 882332 w 882332"/>
              <a:gd name="connsiteY2" fmla="*/ 213646 h 1258490"/>
              <a:gd name="connsiteX3" fmla="*/ 856902 w 882332"/>
              <a:gd name="connsiteY3" fmla="*/ 208223 h 1258490"/>
              <a:gd name="connsiteX4" fmla="*/ 285888 w 882332"/>
              <a:gd name="connsiteY4" fmla="*/ 497329 h 1258490"/>
              <a:gd name="connsiteX5" fmla="*/ 295610 w 882332"/>
              <a:gd name="connsiteY5" fmla="*/ 1099442 h 1258490"/>
              <a:gd name="connsiteX6" fmla="*/ 296906 w 882332"/>
              <a:gd name="connsiteY6" fmla="*/ 1101386 h 1258490"/>
              <a:gd name="connsiteX7" fmla="*/ 262554 w 882332"/>
              <a:gd name="connsiteY7" fmla="*/ 1242678 h 1258490"/>
              <a:gd name="connsiteX8" fmla="*/ 119965 w 882332"/>
              <a:gd name="connsiteY8" fmla="*/ 1209624 h 1258490"/>
              <a:gd name="connsiteX9" fmla="*/ 106354 w 882332"/>
              <a:gd name="connsiteY9" fmla="*/ 394277 h 1258490"/>
              <a:gd name="connsiteX10" fmla="*/ 736802 w 882332"/>
              <a:gd name="connsiteY10" fmla="*/ 0 h 125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82332" h="1258490">
                <a:moveTo>
                  <a:pt x="736802" y="0"/>
                </a:moveTo>
                <a:lnTo>
                  <a:pt x="882332" y="3724"/>
                </a:lnTo>
                <a:lnTo>
                  <a:pt x="882332" y="213646"/>
                </a:lnTo>
                <a:lnTo>
                  <a:pt x="856902" y="208223"/>
                </a:lnTo>
                <a:cubicBezTo>
                  <a:pt x="633570" y="183190"/>
                  <a:pt x="405954" y="289766"/>
                  <a:pt x="285888" y="497329"/>
                </a:cubicBezTo>
                <a:cubicBezTo>
                  <a:pt x="176352" y="686583"/>
                  <a:pt x="182187" y="917317"/>
                  <a:pt x="295610" y="1099442"/>
                </a:cubicBezTo>
                <a:lnTo>
                  <a:pt x="296906" y="1101386"/>
                </a:lnTo>
                <a:cubicBezTo>
                  <a:pt x="325423" y="1149996"/>
                  <a:pt x="310515" y="1212864"/>
                  <a:pt x="262554" y="1242678"/>
                </a:cubicBezTo>
                <a:cubicBezTo>
                  <a:pt x="213945" y="1273141"/>
                  <a:pt x="150427" y="1258233"/>
                  <a:pt x="119965" y="1209624"/>
                </a:cubicBezTo>
                <a:cubicBezTo>
                  <a:pt x="-33642" y="963335"/>
                  <a:pt x="-41419" y="650288"/>
                  <a:pt x="106354" y="394277"/>
                </a:cubicBezTo>
                <a:cubicBezTo>
                  <a:pt x="243272" y="157710"/>
                  <a:pt x="483486" y="18109"/>
                  <a:pt x="736802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308D60F-3929-6A46-BAC7-30115C8CAAB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097588" y="885827"/>
            <a:ext cx="6094412" cy="5089525"/>
          </a:xfrm>
          <a:custGeom>
            <a:avLst/>
            <a:gdLst>
              <a:gd name="connsiteX0" fmla="*/ 2544099 w 6094412"/>
              <a:gd name="connsiteY0" fmla="*/ 0 h 5089525"/>
              <a:gd name="connsiteX1" fmla="*/ 5253885 w 6094412"/>
              <a:gd name="connsiteY1" fmla="*/ 0 h 5089525"/>
              <a:gd name="connsiteX2" fmla="*/ 5236618 w 6094412"/>
              <a:gd name="connsiteY2" fmla="*/ 52473 h 5089525"/>
              <a:gd name="connsiteX3" fmla="*/ 5332045 w 6094412"/>
              <a:gd name="connsiteY3" fmla="*/ 667052 h 5089525"/>
              <a:gd name="connsiteX4" fmla="*/ 5474634 w 6094412"/>
              <a:gd name="connsiteY4" fmla="*/ 700106 h 5089525"/>
              <a:gd name="connsiteX5" fmla="*/ 5508986 w 6094412"/>
              <a:gd name="connsiteY5" fmla="*/ 558814 h 5089525"/>
              <a:gd name="connsiteX6" fmla="*/ 5507690 w 6094412"/>
              <a:gd name="connsiteY6" fmla="*/ 556870 h 5089525"/>
              <a:gd name="connsiteX7" fmla="*/ 5462285 w 6094412"/>
              <a:gd name="connsiteY7" fmla="*/ 27496 h 5089525"/>
              <a:gd name="connsiteX8" fmla="*/ 5475773 w 6094412"/>
              <a:gd name="connsiteY8" fmla="*/ 0 h 5089525"/>
              <a:gd name="connsiteX9" fmla="*/ 6094412 w 6094412"/>
              <a:gd name="connsiteY9" fmla="*/ 0 h 5089525"/>
              <a:gd name="connsiteX10" fmla="*/ 6094412 w 6094412"/>
              <a:gd name="connsiteY10" fmla="*/ 5089525 h 5089525"/>
              <a:gd name="connsiteX11" fmla="*/ 2544099 w 6094412"/>
              <a:gd name="connsiteY11" fmla="*/ 5089525 h 5089525"/>
              <a:gd name="connsiteX12" fmla="*/ 1554030 w 6094412"/>
              <a:gd name="connsiteY12" fmla="*/ 4889699 h 5089525"/>
              <a:gd name="connsiteX13" fmla="*/ 1410284 w 6094412"/>
              <a:gd name="connsiteY13" fmla="*/ 4820474 h 5089525"/>
              <a:gd name="connsiteX14" fmla="*/ 1411917 w 6094412"/>
              <a:gd name="connsiteY14" fmla="*/ 4817465 h 5089525"/>
              <a:gd name="connsiteX15" fmla="*/ 1446922 w 6094412"/>
              <a:gd name="connsiteY15" fmla="*/ 4644078 h 5089525"/>
              <a:gd name="connsiteX16" fmla="*/ 1446762 w 6094412"/>
              <a:gd name="connsiteY16" fmla="*/ 4642490 h 5089525"/>
              <a:gd name="connsiteX17" fmla="*/ 1446922 w 6094412"/>
              <a:gd name="connsiteY17" fmla="*/ 4640901 h 5089525"/>
              <a:gd name="connsiteX18" fmla="*/ 1001477 w 6094412"/>
              <a:gd name="connsiteY18" fmla="*/ 4195456 h 5089525"/>
              <a:gd name="connsiteX19" fmla="*/ 752425 w 6094412"/>
              <a:gd name="connsiteY19" fmla="*/ 4271531 h 5089525"/>
              <a:gd name="connsiteX20" fmla="*/ 710425 w 6094412"/>
              <a:gd name="connsiteY20" fmla="*/ 4306185 h 5089525"/>
              <a:gd name="connsiteX21" fmla="*/ 581109 w 6094412"/>
              <a:gd name="connsiteY21" fmla="*/ 4163921 h 5089525"/>
              <a:gd name="connsiteX22" fmla="*/ 0 w 6094412"/>
              <a:gd name="connsiteY22" fmla="*/ 2544762 h 5089525"/>
              <a:gd name="connsiteX23" fmla="*/ 2544099 w 6094412"/>
              <a:gd name="connsiteY23" fmla="*/ 0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094412" h="5089525">
                <a:moveTo>
                  <a:pt x="2544099" y="0"/>
                </a:moveTo>
                <a:lnTo>
                  <a:pt x="5253885" y="0"/>
                </a:lnTo>
                <a:lnTo>
                  <a:pt x="5236618" y="52473"/>
                </a:lnTo>
                <a:cubicBezTo>
                  <a:pt x="5183664" y="260067"/>
                  <a:pt x="5216840" y="482335"/>
                  <a:pt x="5332045" y="667052"/>
                </a:cubicBezTo>
                <a:cubicBezTo>
                  <a:pt x="5362507" y="715661"/>
                  <a:pt x="5426025" y="730569"/>
                  <a:pt x="5474634" y="700106"/>
                </a:cubicBezTo>
                <a:cubicBezTo>
                  <a:pt x="5522595" y="670292"/>
                  <a:pt x="5537503" y="607424"/>
                  <a:pt x="5508986" y="558814"/>
                </a:cubicBezTo>
                <a:lnTo>
                  <a:pt x="5507690" y="556870"/>
                </a:lnTo>
                <a:cubicBezTo>
                  <a:pt x="5408445" y="397511"/>
                  <a:pt x="5391572" y="200935"/>
                  <a:pt x="5462285" y="27496"/>
                </a:cubicBezTo>
                <a:lnTo>
                  <a:pt x="5475773" y="0"/>
                </a:lnTo>
                <a:lnTo>
                  <a:pt x="6094412" y="0"/>
                </a:lnTo>
                <a:lnTo>
                  <a:pt x="6094412" y="5089525"/>
                </a:lnTo>
                <a:lnTo>
                  <a:pt x="2544099" y="5089525"/>
                </a:lnTo>
                <a:cubicBezTo>
                  <a:pt x="2192957" y="5089525"/>
                  <a:pt x="1858379" y="5018385"/>
                  <a:pt x="1554030" y="4889699"/>
                </a:cubicBezTo>
                <a:lnTo>
                  <a:pt x="1410284" y="4820474"/>
                </a:lnTo>
                <a:lnTo>
                  <a:pt x="1411917" y="4817465"/>
                </a:lnTo>
                <a:cubicBezTo>
                  <a:pt x="1434458" y="4764173"/>
                  <a:pt x="1446922" y="4705581"/>
                  <a:pt x="1446922" y="4644078"/>
                </a:cubicBezTo>
                <a:lnTo>
                  <a:pt x="1446762" y="4642490"/>
                </a:lnTo>
                <a:lnTo>
                  <a:pt x="1446922" y="4640901"/>
                </a:lnTo>
                <a:cubicBezTo>
                  <a:pt x="1446922" y="4394889"/>
                  <a:pt x="1247491" y="4195456"/>
                  <a:pt x="1001477" y="4195456"/>
                </a:cubicBezTo>
                <a:cubicBezTo>
                  <a:pt x="909223" y="4195456"/>
                  <a:pt x="823519" y="4223502"/>
                  <a:pt x="752425" y="4271531"/>
                </a:cubicBezTo>
                <a:lnTo>
                  <a:pt x="710425" y="4306185"/>
                </a:lnTo>
                <a:lnTo>
                  <a:pt x="581109" y="4163921"/>
                </a:lnTo>
                <a:cubicBezTo>
                  <a:pt x="218113" y="3724120"/>
                  <a:pt x="0" y="3160117"/>
                  <a:pt x="0" y="2544762"/>
                </a:cubicBezTo>
                <a:cubicBezTo>
                  <a:pt x="0" y="1139825"/>
                  <a:pt x="1139528" y="0"/>
                  <a:pt x="254409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400CDCF1-C22A-4D93-BDAB-222DD4D3F2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273833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AFF544C-339B-804F-A5DD-3C6A7928B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8" y="885825"/>
            <a:ext cx="6094413" cy="5089525"/>
          </a:xfrm>
          <a:custGeom>
            <a:avLst/>
            <a:gdLst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6856412 h 6856412"/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0 h 6856412"/>
              <a:gd name="connsiteX0" fmla="*/ 0 w 6096001"/>
              <a:gd name="connsiteY0" fmla="*/ 0 h 6856273"/>
              <a:gd name="connsiteX1" fmla="*/ 1588 w 6096001"/>
              <a:gd name="connsiteY1" fmla="*/ 0 h 6856273"/>
              <a:gd name="connsiteX2" fmla="*/ 1588 w 6096001"/>
              <a:gd name="connsiteY2" fmla="*/ 884238 h 6856273"/>
              <a:gd name="connsiteX3" fmla="*/ 626533 w 6096001"/>
              <a:gd name="connsiteY3" fmla="*/ 884238 h 6856273"/>
              <a:gd name="connsiteX4" fmla="*/ 711202 w 6096001"/>
              <a:gd name="connsiteY4" fmla="*/ 884238 h 6856273"/>
              <a:gd name="connsiteX5" fmla="*/ 711202 w 6096001"/>
              <a:gd name="connsiteY5" fmla="*/ 1328263 h 6856273"/>
              <a:gd name="connsiteX6" fmla="*/ 1147593 w 6096001"/>
              <a:gd name="connsiteY6" fmla="*/ 972555 h 6856273"/>
              <a:gd name="connsiteX7" fmla="*/ 1156505 w 6096001"/>
              <a:gd name="connsiteY7" fmla="*/ 884238 h 6856273"/>
              <a:gd name="connsiteX8" fmla="*/ 1173469 w 6096001"/>
              <a:gd name="connsiteY8" fmla="*/ 884238 h 6856273"/>
              <a:gd name="connsiteX9" fmla="*/ 3551901 w 6096001"/>
              <a:gd name="connsiteY9" fmla="*/ 884238 h 6856273"/>
              <a:gd name="connsiteX10" fmla="*/ 6096001 w 6096001"/>
              <a:gd name="connsiteY10" fmla="*/ 3429000 h 6856273"/>
              <a:gd name="connsiteX11" fmla="*/ 3551901 w 6096001"/>
              <a:gd name="connsiteY11" fmla="*/ 5973763 h 6856273"/>
              <a:gd name="connsiteX12" fmla="*/ 1588 w 6096001"/>
              <a:gd name="connsiteY12" fmla="*/ 5973763 h 6856273"/>
              <a:gd name="connsiteX13" fmla="*/ 1588 w 6096001"/>
              <a:gd name="connsiteY13" fmla="*/ 6856273 h 6856273"/>
              <a:gd name="connsiteX14" fmla="*/ 0 w 6096001"/>
              <a:gd name="connsiteY14" fmla="*/ 0 h 6856273"/>
              <a:gd name="connsiteX0" fmla="*/ 0 w 6096001"/>
              <a:gd name="connsiteY0" fmla="*/ 0 h 5973763"/>
              <a:gd name="connsiteX1" fmla="*/ 1588 w 6096001"/>
              <a:gd name="connsiteY1" fmla="*/ 0 h 5973763"/>
              <a:gd name="connsiteX2" fmla="*/ 1588 w 6096001"/>
              <a:gd name="connsiteY2" fmla="*/ 884238 h 5973763"/>
              <a:gd name="connsiteX3" fmla="*/ 626533 w 6096001"/>
              <a:gd name="connsiteY3" fmla="*/ 884238 h 5973763"/>
              <a:gd name="connsiteX4" fmla="*/ 711202 w 6096001"/>
              <a:gd name="connsiteY4" fmla="*/ 884238 h 5973763"/>
              <a:gd name="connsiteX5" fmla="*/ 711202 w 6096001"/>
              <a:gd name="connsiteY5" fmla="*/ 1328263 h 5973763"/>
              <a:gd name="connsiteX6" fmla="*/ 1147593 w 6096001"/>
              <a:gd name="connsiteY6" fmla="*/ 972555 h 5973763"/>
              <a:gd name="connsiteX7" fmla="*/ 1156505 w 6096001"/>
              <a:gd name="connsiteY7" fmla="*/ 884238 h 5973763"/>
              <a:gd name="connsiteX8" fmla="*/ 1173469 w 6096001"/>
              <a:gd name="connsiteY8" fmla="*/ 884238 h 5973763"/>
              <a:gd name="connsiteX9" fmla="*/ 3551901 w 6096001"/>
              <a:gd name="connsiteY9" fmla="*/ 884238 h 5973763"/>
              <a:gd name="connsiteX10" fmla="*/ 6096001 w 6096001"/>
              <a:gd name="connsiteY10" fmla="*/ 3429000 h 5973763"/>
              <a:gd name="connsiteX11" fmla="*/ 3551901 w 6096001"/>
              <a:gd name="connsiteY11" fmla="*/ 5973763 h 5973763"/>
              <a:gd name="connsiteX12" fmla="*/ 1588 w 6096001"/>
              <a:gd name="connsiteY12" fmla="*/ 5973763 h 5973763"/>
              <a:gd name="connsiteX13" fmla="*/ 0 w 6096001"/>
              <a:gd name="connsiteY13" fmla="*/ 0 h 5973763"/>
              <a:gd name="connsiteX0" fmla="*/ 262986 w 6357399"/>
              <a:gd name="connsiteY0" fmla="*/ 5973763 h 6416263"/>
              <a:gd name="connsiteX1" fmla="*/ 262986 w 6357399"/>
              <a:gd name="connsiteY1" fmla="*/ 0 h 6416263"/>
              <a:gd name="connsiteX2" fmla="*/ 262986 w 6357399"/>
              <a:gd name="connsiteY2" fmla="*/ 884238 h 6416263"/>
              <a:gd name="connsiteX3" fmla="*/ 887931 w 6357399"/>
              <a:gd name="connsiteY3" fmla="*/ 884238 h 6416263"/>
              <a:gd name="connsiteX4" fmla="*/ 972600 w 6357399"/>
              <a:gd name="connsiteY4" fmla="*/ 884238 h 6416263"/>
              <a:gd name="connsiteX5" fmla="*/ 972600 w 6357399"/>
              <a:gd name="connsiteY5" fmla="*/ 1328263 h 6416263"/>
              <a:gd name="connsiteX6" fmla="*/ 1408991 w 6357399"/>
              <a:gd name="connsiteY6" fmla="*/ 972555 h 6416263"/>
              <a:gd name="connsiteX7" fmla="*/ 1417903 w 6357399"/>
              <a:gd name="connsiteY7" fmla="*/ 884238 h 6416263"/>
              <a:gd name="connsiteX8" fmla="*/ 1434867 w 6357399"/>
              <a:gd name="connsiteY8" fmla="*/ 884238 h 6416263"/>
              <a:gd name="connsiteX9" fmla="*/ 3813299 w 6357399"/>
              <a:gd name="connsiteY9" fmla="*/ 884238 h 6416263"/>
              <a:gd name="connsiteX10" fmla="*/ 6357399 w 6357399"/>
              <a:gd name="connsiteY10" fmla="*/ 3429000 h 6416263"/>
              <a:gd name="connsiteX11" fmla="*/ 3813299 w 6357399"/>
              <a:gd name="connsiteY11" fmla="*/ 5973763 h 6416263"/>
              <a:gd name="connsiteX12" fmla="*/ 262986 w 6357399"/>
              <a:gd name="connsiteY12" fmla="*/ 5973763 h 6416263"/>
              <a:gd name="connsiteX0" fmla="*/ 287699 w 6382112"/>
              <a:gd name="connsiteY0" fmla="*/ 5466527 h 5909027"/>
              <a:gd name="connsiteX1" fmla="*/ 287699 w 6382112"/>
              <a:gd name="connsiteY1" fmla="*/ 377002 h 5909027"/>
              <a:gd name="connsiteX2" fmla="*/ 912644 w 6382112"/>
              <a:gd name="connsiteY2" fmla="*/ 377002 h 5909027"/>
              <a:gd name="connsiteX3" fmla="*/ 997313 w 6382112"/>
              <a:gd name="connsiteY3" fmla="*/ 377002 h 5909027"/>
              <a:gd name="connsiteX4" fmla="*/ 997313 w 6382112"/>
              <a:gd name="connsiteY4" fmla="*/ 821027 h 5909027"/>
              <a:gd name="connsiteX5" fmla="*/ 1433704 w 6382112"/>
              <a:gd name="connsiteY5" fmla="*/ 465319 h 5909027"/>
              <a:gd name="connsiteX6" fmla="*/ 1442616 w 6382112"/>
              <a:gd name="connsiteY6" fmla="*/ 377002 h 5909027"/>
              <a:gd name="connsiteX7" fmla="*/ 1459580 w 6382112"/>
              <a:gd name="connsiteY7" fmla="*/ 377002 h 5909027"/>
              <a:gd name="connsiteX8" fmla="*/ 3838012 w 6382112"/>
              <a:gd name="connsiteY8" fmla="*/ 377002 h 5909027"/>
              <a:gd name="connsiteX9" fmla="*/ 6382112 w 6382112"/>
              <a:gd name="connsiteY9" fmla="*/ 2921764 h 5909027"/>
              <a:gd name="connsiteX10" fmla="*/ 3838012 w 6382112"/>
              <a:gd name="connsiteY10" fmla="*/ 5466527 h 5909027"/>
              <a:gd name="connsiteX11" fmla="*/ 287699 w 6382112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466527"/>
              <a:gd name="connsiteX1" fmla="*/ 262987 w 6357400"/>
              <a:gd name="connsiteY1" fmla="*/ 377002 h 5466527"/>
              <a:gd name="connsiteX2" fmla="*/ 887932 w 6357400"/>
              <a:gd name="connsiteY2" fmla="*/ 377002 h 5466527"/>
              <a:gd name="connsiteX3" fmla="*/ 972601 w 6357400"/>
              <a:gd name="connsiteY3" fmla="*/ 377002 h 5466527"/>
              <a:gd name="connsiteX4" fmla="*/ 972601 w 6357400"/>
              <a:gd name="connsiteY4" fmla="*/ 821027 h 5466527"/>
              <a:gd name="connsiteX5" fmla="*/ 1408992 w 6357400"/>
              <a:gd name="connsiteY5" fmla="*/ 465319 h 5466527"/>
              <a:gd name="connsiteX6" fmla="*/ 1417904 w 6357400"/>
              <a:gd name="connsiteY6" fmla="*/ 377002 h 5466527"/>
              <a:gd name="connsiteX7" fmla="*/ 1434868 w 6357400"/>
              <a:gd name="connsiteY7" fmla="*/ 377002 h 5466527"/>
              <a:gd name="connsiteX8" fmla="*/ 3813300 w 6357400"/>
              <a:gd name="connsiteY8" fmla="*/ 377002 h 5466527"/>
              <a:gd name="connsiteX9" fmla="*/ 6357400 w 6357400"/>
              <a:gd name="connsiteY9" fmla="*/ 2921764 h 5466527"/>
              <a:gd name="connsiteX10" fmla="*/ 3813300 w 6357400"/>
              <a:gd name="connsiteY10" fmla="*/ 5466527 h 5466527"/>
              <a:gd name="connsiteX11" fmla="*/ 262987 w 6357400"/>
              <a:gd name="connsiteY11" fmla="*/ 5466527 h 5466527"/>
              <a:gd name="connsiteX0" fmla="*/ 0 w 6094413"/>
              <a:gd name="connsiteY0" fmla="*/ 5466527 h 5466527"/>
              <a:gd name="connsiteX1" fmla="*/ 0 w 6094413"/>
              <a:gd name="connsiteY1" fmla="*/ 377002 h 5466527"/>
              <a:gd name="connsiteX2" fmla="*/ 624945 w 6094413"/>
              <a:gd name="connsiteY2" fmla="*/ 377002 h 5466527"/>
              <a:gd name="connsiteX3" fmla="*/ 709614 w 6094413"/>
              <a:gd name="connsiteY3" fmla="*/ 377002 h 5466527"/>
              <a:gd name="connsiteX4" fmla="*/ 709614 w 6094413"/>
              <a:gd name="connsiteY4" fmla="*/ 821027 h 5466527"/>
              <a:gd name="connsiteX5" fmla="*/ 1146005 w 6094413"/>
              <a:gd name="connsiteY5" fmla="*/ 465319 h 5466527"/>
              <a:gd name="connsiteX6" fmla="*/ 1154917 w 6094413"/>
              <a:gd name="connsiteY6" fmla="*/ 377002 h 5466527"/>
              <a:gd name="connsiteX7" fmla="*/ 1171881 w 6094413"/>
              <a:gd name="connsiteY7" fmla="*/ 377002 h 5466527"/>
              <a:gd name="connsiteX8" fmla="*/ 3550313 w 6094413"/>
              <a:gd name="connsiteY8" fmla="*/ 377002 h 5466527"/>
              <a:gd name="connsiteX9" fmla="*/ 6094413 w 6094413"/>
              <a:gd name="connsiteY9" fmla="*/ 2921764 h 5466527"/>
              <a:gd name="connsiteX10" fmla="*/ 3550313 w 6094413"/>
              <a:gd name="connsiteY10" fmla="*/ 5466527 h 5466527"/>
              <a:gd name="connsiteX11" fmla="*/ 0 w 6094413"/>
              <a:gd name="connsiteY11" fmla="*/ 5466527 h 5466527"/>
              <a:gd name="connsiteX0" fmla="*/ 0 w 6094413"/>
              <a:gd name="connsiteY0" fmla="*/ 5089525 h 5089525"/>
              <a:gd name="connsiteX1" fmla="*/ 0 w 6094413"/>
              <a:gd name="connsiteY1" fmla="*/ 0 h 5089525"/>
              <a:gd name="connsiteX2" fmla="*/ 624945 w 6094413"/>
              <a:gd name="connsiteY2" fmla="*/ 0 h 5089525"/>
              <a:gd name="connsiteX3" fmla="*/ 709614 w 6094413"/>
              <a:gd name="connsiteY3" fmla="*/ 0 h 5089525"/>
              <a:gd name="connsiteX4" fmla="*/ 709614 w 6094413"/>
              <a:gd name="connsiteY4" fmla="*/ 444025 h 5089525"/>
              <a:gd name="connsiteX5" fmla="*/ 1146005 w 6094413"/>
              <a:gd name="connsiteY5" fmla="*/ 88317 h 5089525"/>
              <a:gd name="connsiteX6" fmla="*/ 1154917 w 6094413"/>
              <a:gd name="connsiteY6" fmla="*/ 0 h 5089525"/>
              <a:gd name="connsiteX7" fmla="*/ 1171881 w 6094413"/>
              <a:gd name="connsiteY7" fmla="*/ 0 h 5089525"/>
              <a:gd name="connsiteX8" fmla="*/ 3550313 w 6094413"/>
              <a:gd name="connsiteY8" fmla="*/ 0 h 5089525"/>
              <a:gd name="connsiteX9" fmla="*/ 6094413 w 6094413"/>
              <a:gd name="connsiteY9" fmla="*/ 2544762 h 5089525"/>
              <a:gd name="connsiteX10" fmla="*/ 3550313 w 6094413"/>
              <a:gd name="connsiteY10" fmla="*/ 5089525 h 5089525"/>
              <a:gd name="connsiteX11" fmla="*/ 0 w 6094413"/>
              <a:gd name="connsiteY11" fmla="*/ 5089525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4413" h="5089525">
                <a:moveTo>
                  <a:pt x="0" y="5089525"/>
                </a:moveTo>
                <a:cubicBezTo>
                  <a:pt x="393" y="4705966"/>
                  <a:pt x="0" y="2544762"/>
                  <a:pt x="0" y="0"/>
                </a:cubicBezTo>
                <a:cubicBezTo>
                  <a:pt x="164118" y="6185"/>
                  <a:pt x="416630" y="0"/>
                  <a:pt x="624945" y="0"/>
                </a:cubicBezTo>
                <a:lnTo>
                  <a:pt x="709614" y="0"/>
                </a:lnTo>
                <a:lnTo>
                  <a:pt x="709614" y="444025"/>
                </a:lnTo>
                <a:cubicBezTo>
                  <a:pt x="924765" y="444025"/>
                  <a:pt x="1104446" y="291238"/>
                  <a:pt x="1146005" y="88317"/>
                </a:cubicBezTo>
                <a:lnTo>
                  <a:pt x="1154917" y="0"/>
                </a:lnTo>
                <a:lnTo>
                  <a:pt x="1171881" y="0"/>
                </a:lnTo>
                <a:lnTo>
                  <a:pt x="3550313" y="0"/>
                </a:lnTo>
                <a:cubicBezTo>
                  <a:pt x="4954885" y="0"/>
                  <a:pt x="6094413" y="1139825"/>
                  <a:pt x="6094413" y="2544762"/>
                </a:cubicBezTo>
                <a:cubicBezTo>
                  <a:pt x="6094413" y="3951287"/>
                  <a:pt x="4954885" y="5089525"/>
                  <a:pt x="3550313" y="5089525"/>
                </a:cubicBezTo>
                <a:lnTo>
                  <a:pt x="0" y="50895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4517522" y="5078417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4" name="Graphic 7">
            <a:extLst>
              <a:ext uri="{FF2B5EF4-FFF2-40B4-BE49-F238E27FC236}">
                <a16:creationId xmlns:a16="http://schemas.microsoft.com/office/drawing/2014/main" id="{AFEF5B2F-3EB8-CD49-9EF7-BB37F11C7727}"/>
              </a:ext>
            </a:extLst>
          </p:cNvPr>
          <p:cNvSpPr>
            <a:spLocks noChangeAspect="1"/>
          </p:cNvSpPr>
          <p:nvPr userDrawn="1"/>
        </p:nvSpPr>
        <p:spPr>
          <a:xfrm>
            <a:off x="711202" y="438961"/>
            <a:ext cx="445446" cy="890890"/>
          </a:xfrm>
          <a:custGeom>
            <a:avLst/>
            <a:gdLst>
              <a:gd name="connsiteX0" fmla="*/ 0 w 505974"/>
              <a:gd name="connsiteY0" fmla="*/ 1011948 h 1011948"/>
              <a:gd name="connsiteX1" fmla="*/ 505974 w 505974"/>
              <a:gd name="connsiteY1" fmla="*/ 505974 h 1011948"/>
              <a:gd name="connsiteX2" fmla="*/ 0 w 505974"/>
              <a:gd name="connsiteY2" fmla="*/ 0 h 1011948"/>
              <a:gd name="connsiteX3" fmla="*/ 0 w 505974"/>
              <a:gd name="connsiteY3" fmla="*/ 1011948 h 101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974" h="1011948">
                <a:moveTo>
                  <a:pt x="0" y="1011948"/>
                </a:moveTo>
                <a:cubicBezTo>
                  <a:pt x="279298" y="1011948"/>
                  <a:pt x="505974" y="785272"/>
                  <a:pt x="505974" y="505974"/>
                </a:cubicBezTo>
                <a:cubicBezTo>
                  <a:pt x="505974" y="226676"/>
                  <a:pt x="279298" y="0"/>
                  <a:pt x="0" y="0"/>
                </a:cubicBezTo>
                <a:lnTo>
                  <a:pt x="0" y="1011948"/>
                </a:ln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7" name="Title Placeholder 5">
            <a:extLst>
              <a:ext uri="{FF2B5EF4-FFF2-40B4-BE49-F238E27FC236}">
                <a16:creationId xmlns:a16="http://schemas.microsoft.com/office/drawing/2014/main" id="{3CAD06EF-B93E-42B5-A734-D86DB63A203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83376" y="1928283"/>
            <a:ext cx="4916488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258624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27524"/>
            <a:ext cx="3117055" cy="1602954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78A611-6BAF-5C4C-BBAE-C9DBC6627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5468" y="685800"/>
            <a:ext cx="3421066" cy="5435601"/>
          </a:xfrm>
          <a:custGeom>
            <a:avLst/>
            <a:gdLst>
              <a:gd name="connsiteX0" fmla="*/ 1710533 w 3421066"/>
              <a:gd name="connsiteY0" fmla="*/ 0 h 5435601"/>
              <a:gd name="connsiteX1" fmla="*/ 3421066 w 3421066"/>
              <a:gd name="connsiteY1" fmla="*/ 1710533 h 5435601"/>
              <a:gd name="connsiteX2" fmla="*/ 3421065 w 3421066"/>
              <a:gd name="connsiteY2" fmla="*/ 3725068 h 5435601"/>
              <a:gd name="connsiteX3" fmla="*/ 3214613 w 3421066"/>
              <a:gd name="connsiteY3" fmla="*/ 4540410 h 5435601"/>
              <a:gd name="connsiteX4" fmla="*/ 3180387 w 3421066"/>
              <a:gd name="connsiteY4" fmla="*/ 4596748 h 5435601"/>
              <a:gd name="connsiteX5" fmla="*/ 3149009 w 3421066"/>
              <a:gd name="connsiteY5" fmla="*/ 4579717 h 5435601"/>
              <a:gd name="connsiteX6" fmla="*/ 2975621 w 3421066"/>
              <a:gd name="connsiteY6" fmla="*/ 4544711 h 5435601"/>
              <a:gd name="connsiteX7" fmla="*/ 2530176 w 3421066"/>
              <a:gd name="connsiteY7" fmla="*/ 4990156 h 5435601"/>
              <a:gd name="connsiteX8" fmla="*/ 2565182 w 3421066"/>
              <a:gd name="connsiteY8" fmla="*/ 5163543 h 5435601"/>
              <a:gd name="connsiteX9" fmla="*/ 2582213 w 3421066"/>
              <a:gd name="connsiteY9" fmla="*/ 5194922 h 5435601"/>
              <a:gd name="connsiteX10" fmla="*/ 2525874 w 3421066"/>
              <a:gd name="connsiteY10" fmla="*/ 5229149 h 5435601"/>
              <a:gd name="connsiteX11" fmla="*/ 1710532 w 3421066"/>
              <a:gd name="connsiteY11" fmla="*/ 5435601 h 5435601"/>
              <a:gd name="connsiteX12" fmla="*/ 1710533 w 3421066"/>
              <a:gd name="connsiteY12" fmla="*/ 5435600 h 5435601"/>
              <a:gd name="connsiteX13" fmla="*/ 0 w 3421066"/>
              <a:gd name="connsiteY13" fmla="*/ 3725067 h 5435601"/>
              <a:gd name="connsiteX14" fmla="*/ 0 w 3421066"/>
              <a:gd name="connsiteY14" fmla="*/ 1710533 h 5435601"/>
              <a:gd name="connsiteX15" fmla="*/ 1710533 w 3421066"/>
              <a:gd name="connsiteY15" fmla="*/ 0 h 5435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21066" h="5435601">
                <a:moveTo>
                  <a:pt x="1710533" y="0"/>
                </a:moveTo>
                <a:cubicBezTo>
                  <a:pt x="2655234" y="0"/>
                  <a:pt x="3421066" y="765832"/>
                  <a:pt x="3421066" y="1710533"/>
                </a:cubicBezTo>
                <a:cubicBezTo>
                  <a:pt x="3421066" y="2382045"/>
                  <a:pt x="3421065" y="3053556"/>
                  <a:pt x="3421065" y="3725068"/>
                </a:cubicBezTo>
                <a:cubicBezTo>
                  <a:pt x="3421065" y="4020287"/>
                  <a:pt x="3346277" y="4298039"/>
                  <a:pt x="3214613" y="4540410"/>
                </a:cubicBezTo>
                <a:lnTo>
                  <a:pt x="3180387" y="4596748"/>
                </a:lnTo>
                <a:lnTo>
                  <a:pt x="3149009" y="4579717"/>
                </a:lnTo>
                <a:cubicBezTo>
                  <a:pt x="3095717" y="4557176"/>
                  <a:pt x="3037125" y="4544711"/>
                  <a:pt x="2975621" y="4544711"/>
                </a:cubicBezTo>
                <a:cubicBezTo>
                  <a:pt x="2729609" y="4544711"/>
                  <a:pt x="2530176" y="4744144"/>
                  <a:pt x="2530176" y="4990156"/>
                </a:cubicBezTo>
                <a:cubicBezTo>
                  <a:pt x="2530176" y="5051659"/>
                  <a:pt x="2542641" y="5110251"/>
                  <a:pt x="2565182" y="5163543"/>
                </a:cubicBezTo>
                <a:lnTo>
                  <a:pt x="2582213" y="5194922"/>
                </a:lnTo>
                <a:lnTo>
                  <a:pt x="2525874" y="5229149"/>
                </a:lnTo>
                <a:cubicBezTo>
                  <a:pt x="2283503" y="5360813"/>
                  <a:pt x="2005751" y="5435601"/>
                  <a:pt x="1710532" y="5435601"/>
                </a:cubicBezTo>
                <a:lnTo>
                  <a:pt x="1710533" y="5435600"/>
                </a:lnTo>
                <a:cubicBezTo>
                  <a:pt x="765832" y="5435600"/>
                  <a:pt x="0" y="4669768"/>
                  <a:pt x="0" y="3725067"/>
                </a:cubicBezTo>
                <a:lnTo>
                  <a:pt x="0" y="1710533"/>
                </a:lnTo>
                <a:cubicBezTo>
                  <a:pt x="0" y="765832"/>
                  <a:pt x="765832" y="0"/>
                  <a:pt x="171053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BCA9729-3A5A-F640-83F3-29D06259A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7401" y="1909482"/>
            <a:ext cx="3192462" cy="3039036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11">
            <a:extLst>
              <a:ext uri="{FF2B5EF4-FFF2-40B4-BE49-F238E27FC236}">
                <a16:creationId xmlns:a16="http://schemas.microsoft.com/office/drawing/2014/main" id="{AC670E8E-D6F7-9D44-93EC-5635B17B419B}"/>
              </a:ext>
            </a:extLst>
          </p:cNvPr>
          <p:cNvSpPr>
            <a:spLocks noChangeAspect="1"/>
          </p:cNvSpPr>
          <p:nvPr userDrawn="1"/>
        </p:nvSpPr>
        <p:spPr>
          <a:xfrm>
            <a:off x="6915644" y="5230511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517CBA01-3306-BF40-8B9A-92A271D9270F}"/>
              </a:ext>
            </a:extLst>
          </p:cNvPr>
          <p:cNvSpPr>
            <a:spLocks noChangeAspect="1"/>
          </p:cNvSpPr>
          <p:nvPr userDrawn="1"/>
        </p:nvSpPr>
        <p:spPr>
          <a:xfrm>
            <a:off x="4385468" y="68580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34730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25AD4C6-9924-EE46-9CFF-569694C4D3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530961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ctr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14224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AFED8-9F34-394A-9DC1-96289FC391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498" y="2808875"/>
            <a:ext cx="5581130" cy="124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745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6EBB27-EDA7-0641-8946-873D0C1437FF}"/>
              </a:ext>
            </a:extLst>
          </p:cNvPr>
          <p:cNvSpPr/>
          <p:nvPr userDrawn="1"/>
        </p:nvSpPr>
        <p:spPr>
          <a:xfrm>
            <a:off x="711200" y="6239933"/>
            <a:ext cx="11188700" cy="338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56F1B9A4-EE85-DD4C-846C-E1A54787F137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6C1F376-B2C2-4FA3-B667-2D9816577C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C71F823-D3FA-41F9-B559-FB6B8584D9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423908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45553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C8DF6F-7FBE-4C76-A16F-F8DF58724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09147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C8DF6F-7FBE-4C76-A16F-F8DF58724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5B1C11C-6B80-4A50-9CF5-D65BC367E2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3733" b="0" i="0" baseline="0">
              <a:latin typeface="CiscoSans ExtraLight" panose="020B0303020201020303"/>
              <a:cs typeface="CiscoSansTT Thin" panose="020B0203020201020303" pitchFamily="34" charset="0"/>
              <a:sym typeface="CiscoSans ExtraLight" panose="020B0303020201020303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8" cy="975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94179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134022"/>
            <a:ext cx="11036459" cy="398737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7" name="Google Shape;660;p31">
            <a:extLst>
              <a:ext uri="{FF2B5EF4-FFF2-40B4-BE49-F238E27FC236}">
                <a16:creationId xmlns:a16="http://schemas.microsoft.com/office/drawing/2014/main" id="{00749C05-9D77-FC4F-B2C8-5A8BF411256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034010">
            <a:off x="10893673" y="-474410"/>
            <a:ext cx="1869535" cy="19069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4AC45C-E5C0-0346-A232-C26C2FBC33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401" y="1158241"/>
            <a:ext cx="11036459" cy="58800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None/>
              <a:defRPr sz="3200" b="0" i="0">
                <a:solidFill>
                  <a:schemeClr val="accent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4589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3468916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6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95FC5A4-56CD-7842-9E27-FC5F2E436A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79107" y="1607864"/>
            <a:ext cx="3468916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6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0E4CE44-9D4E-3945-998B-3F4183B97C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47015" y="1607864"/>
            <a:ext cx="3468916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6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Graphic 5">
            <a:extLst>
              <a:ext uri="{FF2B5EF4-FFF2-40B4-BE49-F238E27FC236}">
                <a16:creationId xmlns:a16="http://schemas.microsoft.com/office/drawing/2014/main" id="{959B630C-44FD-7144-8D88-9B15DEA70B7D}"/>
              </a:ext>
            </a:extLst>
          </p:cNvPr>
          <p:cNvSpPr/>
          <p:nvPr userDrawn="1"/>
        </p:nvSpPr>
        <p:spPr>
          <a:xfrm>
            <a:off x="11279833" y="5528672"/>
            <a:ext cx="564504" cy="1069869"/>
          </a:xfrm>
          <a:custGeom>
            <a:avLst/>
            <a:gdLst>
              <a:gd name="connsiteX0" fmla="*/ 56424 w 1000125"/>
              <a:gd name="connsiteY0" fmla="*/ 1642336 h 1895475"/>
              <a:gd name="connsiteX1" fmla="*/ 74520 w 1000125"/>
              <a:gd name="connsiteY1" fmla="*/ 1866173 h 1895475"/>
              <a:gd name="connsiteX2" fmla="*/ 299311 w 1000125"/>
              <a:gd name="connsiteY2" fmla="*/ 1848076 h 1895475"/>
              <a:gd name="connsiteX3" fmla="*/ 971775 w 1000125"/>
              <a:gd name="connsiteY3" fmla="*/ 1060358 h 1895475"/>
              <a:gd name="connsiteX4" fmla="*/ 970824 w 1000125"/>
              <a:gd name="connsiteY4" fmla="*/ 854618 h 1895475"/>
              <a:gd name="connsiteX5" fmla="*/ 280261 w 1000125"/>
              <a:gd name="connsiteY5" fmla="*/ 55470 h 1895475"/>
              <a:gd name="connsiteX6" fmla="*/ 55470 w 1000125"/>
              <a:gd name="connsiteY6" fmla="*/ 38326 h 1895475"/>
              <a:gd name="connsiteX7" fmla="*/ 38326 w 1000125"/>
              <a:gd name="connsiteY7" fmla="*/ 262163 h 1895475"/>
              <a:gd name="connsiteX8" fmla="*/ 639353 w 1000125"/>
              <a:gd name="connsiteY8" fmla="*/ 958441 h 1895475"/>
              <a:gd name="connsiteX9" fmla="*/ 56424 w 1000125"/>
              <a:gd name="connsiteY9" fmla="*/ 1642336 h 189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00125" h="1895475">
                <a:moveTo>
                  <a:pt x="56424" y="1642336"/>
                </a:moveTo>
                <a:cubicBezTo>
                  <a:pt x="-726" y="1709011"/>
                  <a:pt x="7845" y="1809023"/>
                  <a:pt x="74520" y="1866173"/>
                </a:cubicBezTo>
                <a:cubicBezTo>
                  <a:pt x="142149" y="1923323"/>
                  <a:pt x="242161" y="1914751"/>
                  <a:pt x="299311" y="1848076"/>
                </a:cubicBezTo>
                <a:lnTo>
                  <a:pt x="971775" y="1060358"/>
                </a:lnTo>
                <a:cubicBezTo>
                  <a:pt x="1022258" y="1001303"/>
                  <a:pt x="1022258" y="913673"/>
                  <a:pt x="970824" y="854618"/>
                </a:cubicBezTo>
                <a:lnTo>
                  <a:pt x="280261" y="55470"/>
                </a:lnTo>
                <a:cubicBezTo>
                  <a:pt x="223111" y="-11205"/>
                  <a:pt x="122145" y="-18824"/>
                  <a:pt x="55470" y="38326"/>
                </a:cubicBezTo>
                <a:cubicBezTo>
                  <a:pt x="-11205" y="95476"/>
                  <a:pt x="-18824" y="195488"/>
                  <a:pt x="38326" y="262163"/>
                </a:cubicBezTo>
                <a:lnTo>
                  <a:pt x="639353" y="958441"/>
                </a:lnTo>
                <a:lnTo>
                  <a:pt x="56424" y="1642336"/>
                </a:ln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400">
              <a:latin typeface="CiscoSansTT Light" panose="020B0503020201020303" pitchFamily="34" charset="0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5920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EC797-F1EC-D645-8C28-F6FD3CFC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9898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gly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34F76-66B7-574C-8D1C-AC2673072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5B5544B7-32AD-1047-8C3F-350540EA4498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1DCD2C7-E289-4A98-BC5A-BECC3780CD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348272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5BB6D-BD05-D74D-9A8F-81ECF51B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3381B4-BFA4-4DB0-BADC-03B078E306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5467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F7272F7-FEC8-46E5-804F-084CC9690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0949" y="1765300"/>
            <a:ext cx="526891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79941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6BCAE-323A-FD4E-B6AF-1569D1E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09885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1907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685800" y="1765300"/>
            <a:ext cx="10820400" cy="387815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B8E33E-433E-404F-AF40-16DD98C21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C3739EF-E776-E947-9B16-A79764B73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55496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765301"/>
            <a:ext cx="10820400" cy="388431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8C9F33-73C8-3E43-99B0-CABB978FD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595AA5-3A6B-4414-9B12-FB0D991426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044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Rounded 8">
            <a:extLst>
              <a:ext uri="{FF2B5EF4-FFF2-40B4-BE49-F238E27FC236}">
                <a16:creationId xmlns:a16="http://schemas.microsoft.com/office/drawing/2014/main" id="{7FFCE1ED-9CD7-3A43-B259-EB0C8E4A61C0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Pie 11">
            <a:extLst>
              <a:ext uri="{FF2B5EF4-FFF2-40B4-BE49-F238E27FC236}">
                <a16:creationId xmlns:a16="http://schemas.microsoft.com/office/drawing/2014/main" id="{13045806-B92E-E845-89A2-FC9CCB1C4EBB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2B94144D-4B28-D64F-9C95-E6C7757DF93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D3FD8EBF-E50E-854D-BF07-28D890332D96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E3A935E-C0C0-429A-8A66-356A1730B2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35948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_C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8029214-AD1B-1845-9945-40E8D4EC3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" b="227"/>
          <a:stretch/>
        </p:blipFill>
        <p:spPr>
          <a:xfrm>
            <a:off x="8610272" y="4935501"/>
            <a:ext cx="3814484" cy="2205777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E0DF4590-7DC1-458C-B237-920172293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7504766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BD904568-3A8C-4D99-B724-8BA8A281C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0C113A6-3D01-48C2-BE5D-2E7E9ADC0B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BF25D3-72D2-4690-A718-29FDD5727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DF08A8C-82AF-403C-9453-69EEB341C7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920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BD6384-F87E-4779-8461-8631FDC9A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2483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7B66876-EE2C-4862-A9F9-2D03B400A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5536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Single Corner Rounded 8">
            <a:extLst>
              <a:ext uri="{FF2B5EF4-FFF2-40B4-BE49-F238E27FC236}">
                <a16:creationId xmlns:a16="http://schemas.microsoft.com/office/drawing/2014/main" id="{F943575E-23A4-8047-BDD0-6F2BC8C1AF97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40FF989-B0C9-4941-B16B-550778B5FD73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B677716-11E0-4714-A688-57E84C728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9E1B9EA2-F47B-4093-9ABF-481721B939C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541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3">
            <a:extLst>
              <a:ext uri="{FF2B5EF4-FFF2-40B4-BE49-F238E27FC236}">
                <a16:creationId xmlns:a16="http://schemas.microsoft.com/office/drawing/2014/main" id="{DD5A31F0-D135-D24D-B732-49F1655BCE49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1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e 6">
            <a:extLst>
              <a:ext uri="{FF2B5EF4-FFF2-40B4-BE49-F238E27FC236}">
                <a16:creationId xmlns:a16="http://schemas.microsoft.com/office/drawing/2014/main" id="{D1D08433-DB32-E540-97A3-939E1510ADF6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2B9E7221-9371-174C-8F29-DFC44973DE7A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B8E659A-D714-4D1B-877E-99F2299B92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5">
            <a:extLst>
              <a:ext uri="{FF2B5EF4-FFF2-40B4-BE49-F238E27FC236}">
                <a16:creationId xmlns:a16="http://schemas.microsoft.com/office/drawing/2014/main" id="{EA36E986-E431-49F5-A77E-7EBDC9307A8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5134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0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3068C8D-2996-0744-9299-1A52A15BB35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FECF1E-D775-4142-8A15-66323FF120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BA627AB4-AAFC-4E31-86FB-09DBDE7C9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186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8" name="Chart Placeholder 2">
            <a:extLst>
              <a:ext uri="{FF2B5EF4-FFF2-40B4-BE49-F238E27FC236}">
                <a16:creationId xmlns:a16="http://schemas.microsoft.com/office/drawing/2014/main" id="{86D928F8-1E6B-6E4D-AF93-C07F6AAFE08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730408" y="685801"/>
            <a:ext cx="4775791" cy="548163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71CF72-9ADF-4B1B-81FD-344936C62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15307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6C9357-B3A4-4CEC-95B5-0CA007F5D2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30501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2336537-8FC0-D542-9892-CAB52E30E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3800" y="0"/>
            <a:ext cx="6588200" cy="6858000"/>
          </a:xfrm>
          <a:custGeom>
            <a:avLst/>
            <a:gdLst>
              <a:gd name="connsiteX0" fmla="*/ 0 w 6833015"/>
              <a:gd name="connsiteY0" fmla="*/ 0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833015"/>
              <a:gd name="connsiteY0" fmla="*/ 1588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649825"/>
              <a:gd name="connsiteY0" fmla="*/ 1588 h 6858000"/>
              <a:gd name="connsiteX1" fmla="*/ 6649825 w 6649825"/>
              <a:gd name="connsiteY1" fmla="*/ 0 h 6858000"/>
              <a:gd name="connsiteX2" fmla="*/ 6649825 w 6649825"/>
              <a:gd name="connsiteY2" fmla="*/ 6858000 h 6858000"/>
              <a:gd name="connsiteX3" fmla="*/ 61625 w 6649825"/>
              <a:gd name="connsiteY3" fmla="*/ 6858000 h 6858000"/>
              <a:gd name="connsiteX4" fmla="*/ 148329 w 6649825"/>
              <a:gd name="connsiteY4" fmla="*/ 6849285 h 6858000"/>
              <a:gd name="connsiteX5" fmla="*/ 553826 w 6649825"/>
              <a:gd name="connsiteY5" fmla="*/ 6351588 h 6858000"/>
              <a:gd name="connsiteX6" fmla="*/ 553826 w 6649825"/>
              <a:gd name="connsiteY6" fmla="*/ 1588 h 6858000"/>
              <a:gd name="connsiteX7" fmla="*/ 0 w 6649825"/>
              <a:gd name="connsiteY7" fmla="*/ 1588 h 6858000"/>
              <a:gd name="connsiteX0" fmla="*/ 492201 w 6588200"/>
              <a:gd name="connsiteY0" fmla="*/ 1588 h 6858000"/>
              <a:gd name="connsiteX1" fmla="*/ 6588200 w 6588200"/>
              <a:gd name="connsiteY1" fmla="*/ 0 h 6858000"/>
              <a:gd name="connsiteX2" fmla="*/ 6588200 w 6588200"/>
              <a:gd name="connsiteY2" fmla="*/ 6858000 h 6858000"/>
              <a:gd name="connsiteX3" fmla="*/ 0 w 6588200"/>
              <a:gd name="connsiteY3" fmla="*/ 6858000 h 6858000"/>
              <a:gd name="connsiteX4" fmla="*/ 86704 w 6588200"/>
              <a:gd name="connsiteY4" fmla="*/ 6849285 h 6858000"/>
              <a:gd name="connsiteX5" fmla="*/ 492201 w 6588200"/>
              <a:gd name="connsiteY5" fmla="*/ 6351588 h 6858000"/>
              <a:gd name="connsiteX6" fmla="*/ 492201 w 6588200"/>
              <a:gd name="connsiteY6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88200" h="6858000">
                <a:moveTo>
                  <a:pt x="492201" y="1588"/>
                </a:moveTo>
                <a:lnTo>
                  <a:pt x="6588200" y="0"/>
                </a:lnTo>
                <a:lnTo>
                  <a:pt x="6588200" y="6858000"/>
                </a:lnTo>
                <a:lnTo>
                  <a:pt x="0" y="6858000"/>
                </a:lnTo>
                <a:lnTo>
                  <a:pt x="86704" y="6849285"/>
                </a:lnTo>
                <a:cubicBezTo>
                  <a:pt x="318395" y="6801992"/>
                  <a:pt x="492201" y="6597452"/>
                  <a:pt x="492201" y="6351588"/>
                </a:cubicBezTo>
                <a:lnTo>
                  <a:pt x="492201" y="15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" name="Title Placeholder 5">
            <a:extLst>
              <a:ext uri="{FF2B5EF4-FFF2-40B4-BE49-F238E27FC236}">
                <a16:creationId xmlns:a16="http://schemas.microsoft.com/office/drawing/2014/main" id="{8F14F167-8732-4388-A8C6-E61636C6E6F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35930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D57DA5F-CFD4-1949-91E1-C71CA247F0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604000" cy="6859588"/>
          </a:xfrm>
          <a:custGeom>
            <a:avLst/>
            <a:gdLst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7045325 w 7045325"/>
              <a:gd name="connsiteY2" fmla="*/ 1588 h 6859588"/>
              <a:gd name="connsiteX3" fmla="*/ 6649827 w 7045325"/>
              <a:gd name="connsiteY3" fmla="*/ 1588 h 6859588"/>
              <a:gd name="connsiteX4" fmla="*/ 6096000 w 7045325"/>
              <a:gd name="connsiteY4" fmla="*/ 1588 h 6859588"/>
              <a:gd name="connsiteX5" fmla="*/ 6096000 w 7045325"/>
              <a:gd name="connsiteY5" fmla="*/ 6351588 h 6859588"/>
              <a:gd name="connsiteX6" fmla="*/ 6604000 w 7045325"/>
              <a:gd name="connsiteY6" fmla="*/ 6859588 h 6859588"/>
              <a:gd name="connsiteX7" fmla="*/ 0 w 7045325"/>
              <a:gd name="connsiteY7" fmla="*/ 6859588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649827 w 7045325"/>
              <a:gd name="connsiteY2" fmla="*/ 1588 h 6859588"/>
              <a:gd name="connsiteX3" fmla="*/ 6096000 w 7045325"/>
              <a:gd name="connsiteY3" fmla="*/ 1588 h 6859588"/>
              <a:gd name="connsiteX4" fmla="*/ 6096000 w 7045325"/>
              <a:gd name="connsiteY4" fmla="*/ 6351588 h 6859588"/>
              <a:gd name="connsiteX5" fmla="*/ 6604000 w 7045325"/>
              <a:gd name="connsiteY5" fmla="*/ 6859588 h 6859588"/>
              <a:gd name="connsiteX6" fmla="*/ 0 w 7045325"/>
              <a:gd name="connsiteY6" fmla="*/ 6859588 h 6859588"/>
              <a:gd name="connsiteX7" fmla="*/ 0 w 7045325"/>
              <a:gd name="connsiteY7" fmla="*/ 0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096000 w 7045325"/>
              <a:gd name="connsiteY2" fmla="*/ 1588 h 6859588"/>
              <a:gd name="connsiteX3" fmla="*/ 6096000 w 7045325"/>
              <a:gd name="connsiteY3" fmla="*/ 6351588 h 6859588"/>
              <a:gd name="connsiteX4" fmla="*/ 6604000 w 7045325"/>
              <a:gd name="connsiteY4" fmla="*/ 6859588 h 6859588"/>
              <a:gd name="connsiteX5" fmla="*/ 0 w 7045325"/>
              <a:gd name="connsiteY5" fmla="*/ 6859588 h 6859588"/>
              <a:gd name="connsiteX6" fmla="*/ 0 w 7045325"/>
              <a:gd name="connsiteY6" fmla="*/ 0 h 6859588"/>
              <a:gd name="connsiteX0" fmla="*/ 0 w 6604000"/>
              <a:gd name="connsiteY0" fmla="*/ 0 h 6859588"/>
              <a:gd name="connsiteX1" fmla="*/ 6096000 w 6604000"/>
              <a:gd name="connsiteY1" fmla="*/ 1588 h 6859588"/>
              <a:gd name="connsiteX2" fmla="*/ 6096000 w 6604000"/>
              <a:gd name="connsiteY2" fmla="*/ 6351588 h 6859588"/>
              <a:gd name="connsiteX3" fmla="*/ 6604000 w 6604000"/>
              <a:gd name="connsiteY3" fmla="*/ 6859588 h 6859588"/>
              <a:gd name="connsiteX4" fmla="*/ 0 w 6604000"/>
              <a:gd name="connsiteY4" fmla="*/ 6859588 h 6859588"/>
              <a:gd name="connsiteX5" fmla="*/ 0 w 6604000"/>
              <a:gd name="connsiteY5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4000" h="6859588">
                <a:moveTo>
                  <a:pt x="0" y="0"/>
                </a:moveTo>
                <a:lnTo>
                  <a:pt x="6096000" y="1588"/>
                </a:lnTo>
                <a:lnTo>
                  <a:pt x="6096000" y="6351588"/>
                </a:lnTo>
                <a:cubicBezTo>
                  <a:pt x="6096000" y="6632576"/>
                  <a:pt x="6323013" y="6859588"/>
                  <a:pt x="6604000" y="6859588"/>
                </a:cubicBezTo>
                <a:lnTo>
                  <a:pt x="0" y="685958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3F30A608-D08A-40A0-96DA-1A3308173D6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72240" y="2209800"/>
            <a:ext cx="4927623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21436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F1B78A7-DDF3-594F-BEC1-BCF1A1D264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27863" y="0"/>
            <a:ext cx="5164137" cy="6858000"/>
          </a:xfrm>
          <a:custGeom>
            <a:avLst/>
            <a:gdLst>
              <a:gd name="connsiteX0" fmla="*/ 508000 w 5164137"/>
              <a:gd name="connsiteY0" fmla="*/ 0 h 6858000"/>
              <a:gd name="connsiteX1" fmla="*/ 5164137 w 5164137"/>
              <a:gd name="connsiteY1" fmla="*/ 0 h 6858000"/>
              <a:gd name="connsiteX2" fmla="*/ 5164137 w 5164137"/>
              <a:gd name="connsiteY2" fmla="*/ 6858000 h 6858000"/>
              <a:gd name="connsiteX3" fmla="*/ 0 w 5164137"/>
              <a:gd name="connsiteY3" fmla="*/ 6858000 h 6858000"/>
              <a:gd name="connsiteX4" fmla="*/ 508000 w 5164137"/>
              <a:gd name="connsiteY4" fmla="*/ 6350000 h 6858000"/>
              <a:gd name="connsiteX5" fmla="*/ 508000 w 5164137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4137" h="6858000">
                <a:moveTo>
                  <a:pt x="508000" y="0"/>
                </a:moveTo>
                <a:lnTo>
                  <a:pt x="5164137" y="0"/>
                </a:lnTo>
                <a:lnTo>
                  <a:pt x="5164137" y="6858000"/>
                </a:lnTo>
                <a:lnTo>
                  <a:pt x="0" y="6858000"/>
                </a:lnTo>
                <a:cubicBezTo>
                  <a:pt x="279400" y="6858000"/>
                  <a:pt x="508000" y="6630988"/>
                  <a:pt x="508000" y="6350000"/>
                </a:cubicBezTo>
                <a:cubicBezTo>
                  <a:pt x="508000" y="0"/>
                  <a:pt x="508000" y="0"/>
                  <a:pt x="50800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4F9D8E-790C-4733-AD03-0624149AD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6434185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21432A2-9239-4A4D-A8B5-3DEE975F13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48949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00" y="685800"/>
            <a:ext cx="6434184" cy="397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B1B087-16F2-FA4F-A732-352E16699F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164137" cy="6858000"/>
          </a:xfrm>
          <a:custGeom>
            <a:avLst/>
            <a:gdLst>
              <a:gd name="connsiteX0" fmla="*/ 0 w 5164137"/>
              <a:gd name="connsiteY0" fmla="*/ 0 h 6858000"/>
              <a:gd name="connsiteX1" fmla="*/ 4656137 w 5164137"/>
              <a:gd name="connsiteY1" fmla="*/ 0 h 6858000"/>
              <a:gd name="connsiteX2" fmla="*/ 4656137 w 5164137"/>
              <a:gd name="connsiteY2" fmla="*/ 6350000 h 6858000"/>
              <a:gd name="connsiteX3" fmla="*/ 5164137 w 5164137"/>
              <a:gd name="connsiteY3" fmla="*/ 6858000 h 6858000"/>
              <a:gd name="connsiteX4" fmla="*/ 0 w 51641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64137" h="6858000">
                <a:moveTo>
                  <a:pt x="0" y="0"/>
                </a:moveTo>
                <a:lnTo>
                  <a:pt x="4656137" y="0"/>
                </a:lnTo>
                <a:cubicBezTo>
                  <a:pt x="4656137" y="0"/>
                  <a:pt x="4656137" y="0"/>
                  <a:pt x="4656137" y="6350000"/>
                </a:cubicBezTo>
                <a:cubicBezTo>
                  <a:pt x="4656137" y="6630988"/>
                  <a:pt x="4884738" y="6858000"/>
                  <a:pt x="5164137" y="6858000"/>
                </a:cubicBez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0225D27-6846-41EC-8F98-B022448E0F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45100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05658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23F638-B04C-A04E-81E5-139F1E369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0331" y="0"/>
            <a:ext cx="5291670" cy="6859588"/>
          </a:xfrm>
          <a:custGeom>
            <a:avLst/>
            <a:gdLst>
              <a:gd name="connsiteX0" fmla="*/ 0 w 6862011"/>
              <a:gd name="connsiteY0" fmla="*/ 0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862011"/>
              <a:gd name="connsiteY0" fmla="*/ 1588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652150"/>
              <a:gd name="connsiteY0" fmla="*/ 1588 h 6859588"/>
              <a:gd name="connsiteX1" fmla="*/ 6652150 w 6652150"/>
              <a:gd name="connsiteY1" fmla="*/ 0 h 6859588"/>
              <a:gd name="connsiteX2" fmla="*/ 6652150 w 6652150"/>
              <a:gd name="connsiteY2" fmla="*/ 6859588 h 6859588"/>
              <a:gd name="connsiteX3" fmla="*/ 4788426 w 6652150"/>
              <a:gd name="connsiteY3" fmla="*/ 6859588 h 6859588"/>
              <a:gd name="connsiteX4" fmla="*/ 1360480 w 6652150"/>
              <a:gd name="connsiteY4" fmla="*/ 3430588 h 6859588"/>
              <a:gd name="connsiteX5" fmla="*/ 4788426 w 6652150"/>
              <a:gd name="connsiteY5" fmla="*/ 1588 h 6859588"/>
              <a:gd name="connsiteX6" fmla="*/ 0 w 6652150"/>
              <a:gd name="connsiteY6" fmla="*/ 1588 h 6859588"/>
              <a:gd name="connsiteX0" fmla="*/ 3427946 w 5291670"/>
              <a:gd name="connsiteY0" fmla="*/ 1588 h 6859588"/>
              <a:gd name="connsiteX1" fmla="*/ 5291670 w 5291670"/>
              <a:gd name="connsiteY1" fmla="*/ 0 h 6859588"/>
              <a:gd name="connsiteX2" fmla="*/ 5291670 w 5291670"/>
              <a:gd name="connsiteY2" fmla="*/ 6859588 h 6859588"/>
              <a:gd name="connsiteX3" fmla="*/ 3427946 w 5291670"/>
              <a:gd name="connsiteY3" fmla="*/ 6859588 h 6859588"/>
              <a:gd name="connsiteX4" fmla="*/ 0 w 5291670"/>
              <a:gd name="connsiteY4" fmla="*/ 3430588 h 6859588"/>
              <a:gd name="connsiteX5" fmla="*/ 3427946 w 5291670"/>
              <a:gd name="connsiteY5" fmla="*/ 1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91670" h="6859588">
                <a:moveTo>
                  <a:pt x="3427946" y="1588"/>
                </a:moveTo>
                <a:lnTo>
                  <a:pt x="5291670" y="0"/>
                </a:lnTo>
                <a:lnTo>
                  <a:pt x="5291670" y="6859588"/>
                </a:lnTo>
                <a:lnTo>
                  <a:pt x="3427946" y="6859588"/>
                </a:lnTo>
                <a:cubicBezTo>
                  <a:pt x="1536227" y="6859588"/>
                  <a:pt x="0" y="5324476"/>
                  <a:pt x="0" y="3430588"/>
                </a:cubicBezTo>
                <a:cubicBezTo>
                  <a:pt x="0" y="1536701"/>
                  <a:pt x="1536227" y="1588"/>
                  <a:pt x="3427946" y="15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0D8EC6-C907-4441-BEDC-6F8A4D6F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8452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9F64AE6-0FEC-48A6-A474-727C244050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8452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6610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midn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aphic 3">
            <a:extLst>
              <a:ext uri="{FF2B5EF4-FFF2-40B4-BE49-F238E27FC236}">
                <a16:creationId xmlns:a16="http://schemas.microsoft.com/office/drawing/2014/main" id="{2D1C0FBE-94F5-6F4F-B64C-846BE6DF4A2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938895-F2B1-E04F-B212-69EB8CE682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93F6C21F-7482-4A74-B9E1-F6B6EDDB60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8DF00338-9F9C-4722-BF64-2DE831518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8C402A99-C377-40FD-B787-C6FDF61E93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09BDAC3-CFAD-4175-842E-87034B1758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E4E1EC-2720-4ACA-BBC8-4E825D34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190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00D54B5-B21B-B648-BDAA-E3E05B45ED1F}"/>
              </a:ext>
            </a:extLst>
          </p:cNvPr>
          <p:cNvSpPr/>
          <p:nvPr userDrawn="1"/>
        </p:nvSpPr>
        <p:spPr>
          <a:xfrm>
            <a:off x="499730" y="6241312"/>
            <a:ext cx="4109484" cy="48909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217A76-F276-AB48-BC7A-8A72469539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91671" cy="6858000"/>
          </a:xfrm>
          <a:custGeom>
            <a:avLst/>
            <a:gdLst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6346825 w 6346825"/>
              <a:gd name="connsiteY2" fmla="*/ 1588 h 6858000"/>
              <a:gd name="connsiteX3" fmla="*/ 5988037 w 6346825"/>
              <a:gd name="connsiteY3" fmla="*/ 1588 h 6858000"/>
              <a:gd name="connsiteX4" fmla="*/ 1863724 w 6346825"/>
              <a:gd name="connsiteY4" fmla="*/ 1588 h 6858000"/>
              <a:gd name="connsiteX5" fmla="*/ 5291671 w 6346825"/>
              <a:gd name="connsiteY5" fmla="*/ 3430588 h 6858000"/>
              <a:gd name="connsiteX6" fmla="*/ 2039995 w 6346825"/>
              <a:gd name="connsiteY6" fmla="*/ 6855127 h 6858000"/>
              <a:gd name="connsiteX7" fmla="*/ 1926466 w 6346825"/>
              <a:gd name="connsiteY7" fmla="*/ 6858000 h 6858000"/>
              <a:gd name="connsiteX8" fmla="*/ 0 w 6346825"/>
              <a:gd name="connsiteY8" fmla="*/ 6858000 h 6858000"/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5988037 w 6346825"/>
              <a:gd name="connsiteY2" fmla="*/ 1588 h 6858000"/>
              <a:gd name="connsiteX3" fmla="*/ 1863724 w 6346825"/>
              <a:gd name="connsiteY3" fmla="*/ 1588 h 6858000"/>
              <a:gd name="connsiteX4" fmla="*/ 5291671 w 6346825"/>
              <a:gd name="connsiteY4" fmla="*/ 3430588 h 6858000"/>
              <a:gd name="connsiteX5" fmla="*/ 2039995 w 6346825"/>
              <a:gd name="connsiteY5" fmla="*/ 6855127 h 6858000"/>
              <a:gd name="connsiteX6" fmla="*/ 1926466 w 6346825"/>
              <a:gd name="connsiteY6" fmla="*/ 6858000 h 6858000"/>
              <a:gd name="connsiteX7" fmla="*/ 0 w 6346825"/>
              <a:gd name="connsiteY7" fmla="*/ 6858000 h 6858000"/>
              <a:gd name="connsiteX8" fmla="*/ 0 w 6346825"/>
              <a:gd name="connsiteY8" fmla="*/ 0 h 6858000"/>
              <a:gd name="connsiteX0" fmla="*/ 0 w 5988037"/>
              <a:gd name="connsiteY0" fmla="*/ 0 h 6858000"/>
              <a:gd name="connsiteX1" fmla="*/ 5988037 w 5988037"/>
              <a:gd name="connsiteY1" fmla="*/ 1588 h 6858000"/>
              <a:gd name="connsiteX2" fmla="*/ 1863724 w 5988037"/>
              <a:gd name="connsiteY2" fmla="*/ 1588 h 6858000"/>
              <a:gd name="connsiteX3" fmla="*/ 5291671 w 5988037"/>
              <a:gd name="connsiteY3" fmla="*/ 3430588 h 6858000"/>
              <a:gd name="connsiteX4" fmla="*/ 2039995 w 5988037"/>
              <a:gd name="connsiteY4" fmla="*/ 6855127 h 6858000"/>
              <a:gd name="connsiteX5" fmla="*/ 1926466 w 5988037"/>
              <a:gd name="connsiteY5" fmla="*/ 6858000 h 6858000"/>
              <a:gd name="connsiteX6" fmla="*/ 0 w 5988037"/>
              <a:gd name="connsiteY6" fmla="*/ 6858000 h 6858000"/>
              <a:gd name="connsiteX7" fmla="*/ 0 w 5988037"/>
              <a:gd name="connsiteY7" fmla="*/ 0 h 6858000"/>
              <a:gd name="connsiteX0" fmla="*/ 0 w 5291671"/>
              <a:gd name="connsiteY0" fmla="*/ 0 h 6858000"/>
              <a:gd name="connsiteX1" fmla="*/ 1863724 w 5291671"/>
              <a:gd name="connsiteY1" fmla="*/ 1588 h 6858000"/>
              <a:gd name="connsiteX2" fmla="*/ 5291671 w 5291671"/>
              <a:gd name="connsiteY2" fmla="*/ 3430588 h 6858000"/>
              <a:gd name="connsiteX3" fmla="*/ 2039995 w 5291671"/>
              <a:gd name="connsiteY3" fmla="*/ 6855127 h 6858000"/>
              <a:gd name="connsiteX4" fmla="*/ 1926466 w 5291671"/>
              <a:gd name="connsiteY4" fmla="*/ 6858000 h 6858000"/>
              <a:gd name="connsiteX5" fmla="*/ 0 w 5291671"/>
              <a:gd name="connsiteY5" fmla="*/ 6858000 h 6858000"/>
              <a:gd name="connsiteX6" fmla="*/ 0 w 529167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1671" h="6858000">
                <a:moveTo>
                  <a:pt x="0" y="0"/>
                </a:moveTo>
                <a:lnTo>
                  <a:pt x="1863724" y="1588"/>
                </a:lnTo>
                <a:cubicBezTo>
                  <a:pt x="3755443" y="1588"/>
                  <a:pt x="5291671" y="1536701"/>
                  <a:pt x="5291671" y="3430588"/>
                </a:cubicBezTo>
                <a:cubicBezTo>
                  <a:pt x="5291671" y="5265292"/>
                  <a:pt x="3849957" y="6763293"/>
                  <a:pt x="2039995" y="6855127"/>
                </a:cubicBezTo>
                <a:lnTo>
                  <a:pt x="192646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396E18E-2DBE-4E25-B72B-F7AEEB868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399" y="1765300"/>
            <a:ext cx="560546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C6B682-AE88-4680-8341-961E4BC2C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3334" y="627798"/>
            <a:ext cx="5605464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97127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6653620" y="508446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F131F91E-8165-AB41-983B-510946DFC34F}"/>
              </a:ext>
            </a:extLst>
          </p:cNvPr>
          <p:cNvSpPr>
            <a:spLocks noChangeAspect="1"/>
          </p:cNvSpPr>
          <p:nvPr userDrawn="1"/>
        </p:nvSpPr>
        <p:spPr>
          <a:xfrm>
            <a:off x="11309668" y="343255"/>
            <a:ext cx="882332" cy="1258490"/>
          </a:xfrm>
          <a:custGeom>
            <a:avLst/>
            <a:gdLst>
              <a:gd name="connsiteX0" fmla="*/ 736802 w 882332"/>
              <a:gd name="connsiteY0" fmla="*/ 0 h 1258490"/>
              <a:gd name="connsiteX1" fmla="*/ 882332 w 882332"/>
              <a:gd name="connsiteY1" fmla="*/ 3724 h 1258490"/>
              <a:gd name="connsiteX2" fmla="*/ 882332 w 882332"/>
              <a:gd name="connsiteY2" fmla="*/ 213646 h 1258490"/>
              <a:gd name="connsiteX3" fmla="*/ 856902 w 882332"/>
              <a:gd name="connsiteY3" fmla="*/ 208223 h 1258490"/>
              <a:gd name="connsiteX4" fmla="*/ 285888 w 882332"/>
              <a:gd name="connsiteY4" fmla="*/ 497329 h 1258490"/>
              <a:gd name="connsiteX5" fmla="*/ 295610 w 882332"/>
              <a:gd name="connsiteY5" fmla="*/ 1099442 h 1258490"/>
              <a:gd name="connsiteX6" fmla="*/ 296906 w 882332"/>
              <a:gd name="connsiteY6" fmla="*/ 1101386 h 1258490"/>
              <a:gd name="connsiteX7" fmla="*/ 262554 w 882332"/>
              <a:gd name="connsiteY7" fmla="*/ 1242678 h 1258490"/>
              <a:gd name="connsiteX8" fmla="*/ 119965 w 882332"/>
              <a:gd name="connsiteY8" fmla="*/ 1209624 h 1258490"/>
              <a:gd name="connsiteX9" fmla="*/ 106354 w 882332"/>
              <a:gd name="connsiteY9" fmla="*/ 394277 h 1258490"/>
              <a:gd name="connsiteX10" fmla="*/ 736802 w 882332"/>
              <a:gd name="connsiteY10" fmla="*/ 0 h 125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82332" h="1258490">
                <a:moveTo>
                  <a:pt x="736802" y="0"/>
                </a:moveTo>
                <a:lnTo>
                  <a:pt x="882332" y="3724"/>
                </a:lnTo>
                <a:lnTo>
                  <a:pt x="882332" y="213646"/>
                </a:lnTo>
                <a:lnTo>
                  <a:pt x="856902" y="208223"/>
                </a:lnTo>
                <a:cubicBezTo>
                  <a:pt x="633570" y="183190"/>
                  <a:pt x="405954" y="289766"/>
                  <a:pt x="285888" y="497329"/>
                </a:cubicBezTo>
                <a:cubicBezTo>
                  <a:pt x="176352" y="686583"/>
                  <a:pt x="182187" y="917317"/>
                  <a:pt x="295610" y="1099442"/>
                </a:cubicBezTo>
                <a:lnTo>
                  <a:pt x="296906" y="1101386"/>
                </a:lnTo>
                <a:cubicBezTo>
                  <a:pt x="325423" y="1149996"/>
                  <a:pt x="310515" y="1212864"/>
                  <a:pt x="262554" y="1242678"/>
                </a:cubicBezTo>
                <a:cubicBezTo>
                  <a:pt x="213945" y="1273141"/>
                  <a:pt x="150427" y="1258233"/>
                  <a:pt x="119965" y="1209624"/>
                </a:cubicBezTo>
                <a:cubicBezTo>
                  <a:pt x="-33642" y="963335"/>
                  <a:pt x="-41419" y="650288"/>
                  <a:pt x="106354" y="394277"/>
                </a:cubicBezTo>
                <a:cubicBezTo>
                  <a:pt x="243272" y="157710"/>
                  <a:pt x="483486" y="18109"/>
                  <a:pt x="736802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308D60F-3929-6A46-BAC7-30115C8CAAB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097588" y="885827"/>
            <a:ext cx="6094412" cy="5089525"/>
          </a:xfrm>
          <a:custGeom>
            <a:avLst/>
            <a:gdLst>
              <a:gd name="connsiteX0" fmla="*/ 2544099 w 6094412"/>
              <a:gd name="connsiteY0" fmla="*/ 0 h 5089525"/>
              <a:gd name="connsiteX1" fmla="*/ 5253885 w 6094412"/>
              <a:gd name="connsiteY1" fmla="*/ 0 h 5089525"/>
              <a:gd name="connsiteX2" fmla="*/ 5236618 w 6094412"/>
              <a:gd name="connsiteY2" fmla="*/ 52473 h 5089525"/>
              <a:gd name="connsiteX3" fmla="*/ 5332045 w 6094412"/>
              <a:gd name="connsiteY3" fmla="*/ 667052 h 5089525"/>
              <a:gd name="connsiteX4" fmla="*/ 5474634 w 6094412"/>
              <a:gd name="connsiteY4" fmla="*/ 700106 h 5089525"/>
              <a:gd name="connsiteX5" fmla="*/ 5508986 w 6094412"/>
              <a:gd name="connsiteY5" fmla="*/ 558814 h 5089525"/>
              <a:gd name="connsiteX6" fmla="*/ 5507690 w 6094412"/>
              <a:gd name="connsiteY6" fmla="*/ 556870 h 5089525"/>
              <a:gd name="connsiteX7" fmla="*/ 5462285 w 6094412"/>
              <a:gd name="connsiteY7" fmla="*/ 27496 h 5089525"/>
              <a:gd name="connsiteX8" fmla="*/ 5475773 w 6094412"/>
              <a:gd name="connsiteY8" fmla="*/ 0 h 5089525"/>
              <a:gd name="connsiteX9" fmla="*/ 6094412 w 6094412"/>
              <a:gd name="connsiteY9" fmla="*/ 0 h 5089525"/>
              <a:gd name="connsiteX10" fmla="*/ 6094412 w 6094412"/>
              <a:gd name="connsiteY10" fmla="*/ 5089525 h 5089525"/>
              <a:gd name="connsiteX11" fmla="*/ 2544099 w 6094412"/>
              <a:gd name="connsiteY11" fmla="*/ 5089525 h 5089525"/>
              <a:gd name="connsiteX12" fmla="*/ 1554030 w 6094412"/>
              <a:gd name="connsiteY12" fmla="*/ 4889699 h 5089525"/>
              <a:gd name="connsiteX13" fmla="*/ 1410284 w 6094412"/>
              <a:gd name="connsiteY13" fmla="*/ 4820474 h 5089525"/>
              <a:gd name="connsiteX14" fmla="*/ 1411917 w 6094412"/>
              <a:gd name="connsiteY14" fmla="*/ 4817465 h 5089525"/>
              <a:gd name="connsiteX15" fmla="*/ 1446922 w 6094412"/>
              <a:gd name="connsiteY15" fmla="*/ 4644078 h 5089525"/>
              <a:gd name="connsiteX16" fmla="*/ 1446762 w 6094412"/>
              <a:gd name="connsiteY16" fmla="*/ 4642490 h 5089525"/>
              <a:gd name="connsiteX17" fmla="*/ 1446922 w 6094412"/>
              <a:gd name="connsiteY17" fmla="*/ 4640901 h 5089525"/>
              <a:gd name="connsiteX18" fmla="*/ 1001477 w 6094412"/>
              <a:gd name="connsiteY18" fmla="*/ 4195456 h 5089525"/>
              <a:gd name="connsiteX19" fmla="*/ 752425 w 6094412"/>
              <a:gd name="connsiteY19" fmla="*/ 4271531 h 5089525"/>
              <a:gd name="connsiteX20" fmla="*/ 710425 w 6094412"/>
              <a:gd name="connsiteY20" fmla="*/ 4306185 h 5089525"/>
              <a:gd name="connsiteX21" fmla="*/ 581109 w 6094412"/>
              <a:gd name="connsiteY21" fmla="*/ 4163921 h 5089525"/>
              <a:gd name="connsiteX22" fmla="*/ 0 w 6094412"/>
              <a:gd name="connsiteY22" fmla="*/ 2544762 h 5089525"/>
              <a:gd name="connsiteX23" fmla="*/ 2544099 w 6094412"/>
              <a:gd name="connsiteY23" fmla="*/ 0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094412" h="5089525">
                <a:moveTo>
                  <a:pt x="2544099" y="0"/>
                </a:moveTo>
                <a:lnTo>
                  <a:pt x="5253885" y="0"/>
                </a:lnTo>
                <a:lnTo>
                  <a:pt x="5236618" y="52473"/>
                </a:lnTo>
                <a:cubicBezTo>
                  <a:pt x="5183664" y="260067"/>
                  <a:pt x="5216840" y="482335"/>
                  <a:pt x="5332045" y="667052"/>
                </a:cubicBezTo>
                <a:cubicBezTo>
                  <a:pt x="5362507" y="715661"/>
                  <a:pt x="5426025" y="730569"/>
                  <a:pt x="5474634" y="700106"/>
                </a:cubicBezTo>
                <a:cubicBezTo>
                  <a:pt x="5522595" y="670292"/>
                  <a:pt x="5537503" y="607424"/>
                  <a:pt x="5508986" y="558814"/>
                </a:cubicBezTo>
                <a:lnTo>
                  <a:pt x="5507690" y="556870"/>
                </a:lnTo>
                <a:cubicBezTo>
                  <a:pt x="5408445" y="397511"/>
                  <a:pt x="5391572" y="200935"/>
                  <a:pt x="5462285" y="27496"/>
                </a:cubicBezTo>
                <a:lnTo>
                  <a:pt x="5475773" y="0"/>
                </a:lnTo>
                <a:lnTo>
                  <a:pt x="6094412" y="0"/>
                </a:lnTo>
                <a:lnTo>
                  <a:pt x="6094412" y="5089525"/>
                </a:lnTo>
                <a:lnTo>
                  <a:pt x="2544099" y="5089525"/>
                </a:lnTo>
                <a:cubicBezTo>
                  <a:pt x="2192957" y="5089525"/>
                  <a:pt x="1858379" y="5018385"/>
                  <a:pt x="1554030" y="4889699"/>
                </a:cubicBezTo>
                <a:lnTo>
                  <a:pt x="1410284" y="4820474"/>
                </a:lnTo>
                <a:lnTo>
                  <a:pt x="1411917" y="4817465"/>
                </a:lnTo>
                <a:cubicBezTo>
                  <a:pt x="1434458" y="4764173"/>
                  <a:pt x="1446922" y="4705581"/>
                  <a:pt x="1446922" y="4644078"/>
                </a:cubicBezTo>
                <a:lnTo>
                  <a:pt x="1446762" y="4642490"/>
                </a:lnTo>
                <a:lnTo>
                  <a:pt x="1446922" y="4640901"/>
                </a:lnTo>
                <a:cubicBezTo>
                  <a:pt x="1446922" y="4394889"/>
                  <a:pt x="1247491" y="4195456"/>
                  <a:pt x="1001477" y="4195456"/>
                </a:cubicBezTo>
                <a:cubicBezTo>
                  <a:pt x="909223" y="4195456"/>
                  <a:pt x="823519" y="4223502"/>
                  <a:pt x="752425" y="4271531"/>
                </a:cubicBezTo>
                <a:lnTo>
                  <a:pt x="710425" y="4306185"/>
                </a:lnTo>
                <a:lnTo>
                  <a:pt x="581109" y="4163921"/>
                </a:lnTo>
                <a:cubicBezTo>
                  <a:pt x="218113" y="3724120"/>
                  <a:pt x="0" y="3160117"/>
                  <a:pt x="0" y="2544762"/>
                </a:cubicBezTo>
                <a:cubicBezTo>
                  <a:pt x="0" y="1139825"/>
                  <a:pt x="1139528" y="0"/>
                  <a:pt x="254409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400CDCF1-C22A-4D93-BDAB-222DD4D3F2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27383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AFF544C-339B-804F-A5DD-3C6A7928B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8" y="885825"/>
            <a:ext cx="6094413" cy="5089525"/>
          </a:xfrm>
          <a:custGeom>
            <a:avLst/>
            <a:gdLst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6856412 h 6856412"/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0 h 6856412"/>
              <a:gd name="connsiteX0" fmla="*/ 0 w 6096001"/>
              <a:gd name="connsiteY0" fmla="*/ 0 h 6856273"/>
              <a:gd name="connsiteX1" fmla="*/ 1588 w 6096001"/>
              <a:gd name="connsiteY1" fmla="*/ 0 h 6856273"/>
              <a:gd name="connsiteX2" fmla="*/ 1588 w 6096001"/>
              <a:gd name="connsiteY2" fmla="*/ 884238 h 6856273"/>
              <a:gd name="connsiteX3" fmla="*/ 626533 w 6096001"/>
              <a:gd name="connsiteY3" fmla="*/ 884238 h 6856273"/>
              <a:gd name="connsiteX4" fmla="*/ 711202 w 6096001"/>
              <a:gd name="connsiteY4" fmla="*/ 884238 h 6856273"/>
              <a:gd name="connsiteX5" fmla="*/ 711202 w 6096001"/>
              <a:gd name="connsiteY5" fmla="*/ 1328263 h 6856273"/>
              <a:gd name="connsiteX6" fmla="*/ 1147593 w 6096001"/>
              <a:gd name="connsiteY6" fmla="*/ 972555 h 6856273"/>
              <a:gd name="connsiteX7" fmla="*/ 1156505 w 6096001"/>
              <a:gd name="connsiteY7" fmla="*/ 884238 h 6856273"/>
              <a:gd name="connsiteX8" fmla="*/ 1173469 w 6096001"/>
              <a:gd name="connsiteY8" fmla="*/ 884238 h 6856273"/>
              <a:gd name="connsiteX9" fmla="*/ 3551901 w 6096001"/>
              <a:gd name="connsiteY9" fmla="*/ 884238 h 6856273"/>
              <a:gd name="connsiteX10" fmla="*/ 6096001 w 6096001"/>
              <a:gd name="connsiteY10" fmla="*/ 3429000 h 6856273"/>
              <a:gd name="connsiteX11" fmla="*/ 3551901 w 6096001"/>
              <a:gd name="connsiteY11" fmla="*/ 5973763 h 6856273"/>
              <a:gd name="connsiteX12" fmla="*/ 1588 w 6096001"/>
              <a:gd name="connsiteY12" fmla="*/ 5973763 h 6856273"/>
              <a:gd name="connsiteX13" fmla="*/ 1588 w 6096001"/>
              <a:gd name="connsiteY13" fmla="*/ 6856273 h 6856273"/>
              <a:gd name="connsiteX14" fmla="*/ 0 w 6096001"/>
              <a:gd name="connsiteY14" fmla="*/ 0 h 6856273"/>
              <a:gd name="connsiteX0" fmla="*/ 0 w 6096001"/>
              <a:gd name="connsiteY0" fmla="*/ 0 h 5973763"/>
              <a:gd name="connsiteX1" fmla="*/ 1588 w 6096001"/>
              <a:gd name="connsiteY1" fmla="*/ 0 h 5973763"/>
              <a:gd name="connsiteX2" fmla="*/ 1588 w 6096001"/>
              <a:gd name="connsiteY2" fmla="*/ 884238 h 5973763"/>
              <a:gd name="connsiteX3" fmla="*/ 626533 w 6096001"/>
              <a:gd name="connsiteY3" fmla="*/ 884238 h 5973763"/>
              <a:gd name="connsiteX4" fmla="*/ 711202 w 6096001"/>
              <a:gd name="connsiteY4" fmla="*/ 884238 h 5973763"/>
              <a:gd name="connsiteX5" fmla="*/ 711202 w 6096001"/>
              <a:gd name="connsiteY5" fmla="*/ 1328263 h 5973763"/>
              <a:gd name="connsiteX6" fmla="*/ 1147593 w 6096001"/>
              <a:gd name="connsiteY6" fmla="*/ 972555 h 5973763"/>
              <a:gd name="connsiteX7" fmla="*/ 1156505 w 6096001"/>
              <a:gd name="connsiteY7" fmla="*/ 884238 h 5973763"/>
              <a:gd name="connsiteX8" fmla="*/ 1173469 w 6096001"/>
              <a:gd name="connsiteY8" fmla="*/ 884238 h 5973763"/>
              <a:gd name="connsiteX9" fmla="*/ 3551901 w 6096001"/>
              <a:gd name="connsiteY9" fmla="*/ 884238 h 5973763"/>
              <a:gd name="connsiteX10" fmla="*/ 6096001 w 6096001"/>
              <a:gd name="connsiteY10" fmla="*/ 3429000 h 5973763"/>
              <a:gd name="connsiteX11" fmla="*/ 3551901 w 6096001"/>
              <a:gd name="connsiteY11" fmla="*/ 5973763 h 5973763"/>
              <a:gd name="connsiteX12" fmla="*/ 1588 w 6096001"/>
              <a:gd name="connsiteY12" fmla="*/ 5973763 h 5973763"/>
              <a:gd name="connsiteX13" fmla="*/ 0 w 6096001"/>
              <a:gd name="connsiteY13" fmla="*/ 0 h 5973763"/>
              <a:gd name="connsiteX0" fmla="*/ 262986 w 6357399"/>
              <a:gd name="connsiteY0" fmla="*/ 5973763 h 6416263"/>
              <a:gd name="connsiteX1" fmla="*/ 262986 w 6357399"/>
              <a:gd name="connsiteY1" fmla="*/ 0 h 6416263"/>
              <a:gd name="connsiteX2" fmla="*/ 262986 w 6357399"/>
              <a:gd name="connsiteY2" fmla="*/ 884238 h 6416263"/>
              <a:gd name="connsiteX3" fmla="*/ 887931 w 6357399"/>
              <a:gd name="connsiteY3" fmla="*/ 884238 h 6416263"/>
              <a:gd name="connsiteX4" fmla="*/ 972600 w 6357399"/>
              <a:gd name="connsiteY4" fmla="*/ 884238 h 6416263"/>
              <a:gd name="connsiteX5" fmla="*/ 972600 w 6357399"/>
              <a:gd name="connsiteY5" fmla="*/ 1328263 h 6416263"/>
              <a:gd name="connsiteX6" fmla="*/ 1408991 w 6357399"/>
              <a:gd name="connsiteY6" fmla="*/ 972555 h 6416263"/>
              <a:gd name="connsiteX7" fmla="*/ 1417903 w 6357399"/>
              <a:gd name="connsiteY7" fmla="*/ 884238 h 6416263"/>
              <a:gd name="connsiteX8" fmla="*/ 1434867 w 6357399"/>
              <a:gd name="connsiteY8" fmla="*/ 884238 h 6416263"/>
              <a:gd name="connsiteX9" fmla="*/ 3813299 w 6357399"/>
              <a:gd name="connsiteY9" fmla="*/ 884238 h 6416263"/>
              <a:gd name="connsiteX10" fmla="*/ 6357399 w 6357399"/>
              <a:gd name="connsiteY10" fmla="*/ 3429000 h 6416263"/>
              <a:gd name="connsiteX11" fmla="*/ 3813299 w 6357399"/>
              <a:gd name="connsiteY11" fmla="*/ 5973763 h 6416263"/>
              <a:gd name="connsiteX12" fmla="*/ 262986 w 6357399"/>
              <a:gd name="connsiteY12" fmla="*/ 5973763 h 6416263"/>
              <a:gd name="connsiteX0" fmla="*/ 287699 w 6382112"/>
              <a:gd name="connsiteY0" fmla="*/ 5466527 h 5909027"/>
              <a:gd name="connsiteX1" fmla="*/ 287699 w 6382112"/>
              <a:gd name="connsiteY1" fmla="*/ 377002 h 5909027"/>
              <a:gd name="connsiteX2" fmla="*/ 912644 w 6382112"/>
              <a:gd name="connsiteY2" fmla="*/ 377002 h 5909027"/>
              <a:gd name="connsiteX3" fmla="*/ 997313 w 6382112"/>
              <a:gd name="connsiteY3" fmla="*/ 377002 h 5909027"/>
              <a:gd name="connsiteX4" fmla="*/ 997313 w 6382112"/>
              <a:gd name="connsiteY4" fmla="*/ 821027 h 5909027"/>
              <a:gd name="connsiteX5" fmla="*/ 1433704 w 6382112"/>
              <a:gd name="connsiteY5" fmla="*/ 465319 h 5909027"/>
              <a:gd name="connsiteX6" fmla="*/ 1442616 w 6382112"/>
              <a:gd name="connsiteY6" fmla="*/ 377002 h 5909027"/>
              <a:gd name="connsiteX7" fmla="*/ 1459580 w 6382112"/>
              <a:gd name="connsiteY7" fmla="*/ 377002 h 5909027"/>
              <a:gd name="connsiteX8" fmla="*/ 3838012 w 6382112"/>
              <a:gd name="connsiteY8" fmla="*/ 377002 h 5909027"/>
              <a:gd name="connsiteX9" fmla="*/ 6382112 w 6382112"/>
              <a:gd name="connsiteY9" fmla="*/ 2921764 h 5909027"/>
              <a:gd name="connsiteX10" fmla="*/ 3838012 w 6382112"/>
              <a:gd name="connsiteY10" fmla="*/ 5466527 h 5909027"/>
              <a:gd name="connsiteX11" fmla="*/ 287699 w 6382112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466527"/>
              <a:gd name="connsiteX1" fmla="*/ 262987 w 6357400"/>
              <a:gd name="connsiteY1" fmla="*/ 377002 h 5466527"/>
              <a:gd name="connsiteX2" fmla="*/ 887932 w 6357400"/>
              <a:gd name="connsiteY2" fmla="*/ 377002 h 5466527"/>
              <a:gd name="connsiteX3" fmla="*/ 972601 w 6357400"/>
              <a:gd name="connsiteY3" fmla="*/ 377002 h 5466527"/>
              <a:gd name="connsiteX4" fmla="*/ 972601 w 6357400"/>
              <a:gd name="connsiteY4" fmla="*/ 821027 h 5466527"/>
              <a:gd name="connsiteX5" fmla="*/ 1408992 w 6357400"/>
              <a:gd name="connsiteY5" fmla="*/ 465319 h 5466527"/>
              <a:gd name="connsiteX6" fmla="*/ 1417904 w 6357400"/>
              <a:gd name="connsiteY6" fmla="*/ 377002 h 5466527"/>
              <a:gd name="connsiteX7" fmla="*/ 1434868 w 6357400"/>
              <a:gd name="connsiteY7" fmla="*/ 377002 h 5466527"/>
              <a:gd name="connsiteX8" fmla="*/ 3813300 w 6357400"/>
              <a:gd name="connsiteY8" fmla="*/ 377002 h 5466527"/>
              <a:gd name="connsiteX9" fmla="*/ 6357400 w 6357400"/>
              <a:gd name="connsiteY9" fmla="*/ 2921764 h 5466527"/>
              <a:gd name="connsiteX10" fmla="*/ 3813300 w 6357400"/>
              <a:gd name="connsiteY10" fmla="*/ 5466527 h 5466527"/>
              <a:gd name="connsiteX11" fmla="*/ 262987 w 6357400"/>
              <a:gd name="connsiteY11" fmla="*/ 5466527 h 5466527"/>
              <a:gd name="connsiteX0" fmla="*/ 0 w 6094413"/>
              <a:gd name="connsiteY0" fmla="*/ 5466527 h 5466527"/>
              <a:gd name="connsiteX1" fmla="*/ 0 w 6094413"/>
              <a:gd name="connsiteY1" fmla="*/ 377002 h 5466527"/>
              <a:gd name="connsiteX2" fmla="*/ 624945 w 6094413"/>
              <a:gd name="connsiteY2" fmla="*/ 377002 h 5466527"/>
              <a:gd name="connsiteX3" fmla="*/ 709614 w 6094413"/>
              <a:gd name="connsiteY3" fmla="*/ 377002 h 5466527"/>
              <a:gd name="connsiteX4" fmla="*/ 709614 w 6094413"/>
              <a:gd name="connsiteY4" fmla="*/ 821027 h 5466527"/>
              <a:gd name="connsiteX5" fmla="*/ 1146005 w 6094413"/>
              <a:gd name="connsiteY5" fmla="*/ 465319 h 5466527"/>
              <a:gd name="connsiteX6" fmla="*/ 1154917 w 6094413"/>
              <a:gd name="connsiteY6" fmla="*/ 377002 h 5466527"/>
              <a:gd name="connsiteX7" fmla="*/ 1171881 w 6094413"/>
              <a:gd name="connsiteY7" fmla="*/ 377002 h 5466527"/>
              <a:gd name="connsiteX8" fmla="*/ 3550313 w 6094413"/>
              <a:gd name="connsiteY8" fmla="*/ 377002 h 5466527"/>
              <a:gd name="connsiteX9" fmla="*/ 6094413 w 6094413"/>
              <a:gd name="connsiteY9" fmla="*/ 2921764 h 5466527"/>
              <a:gd name="connsiteX10" fmla="*/ 3550313 w 6094413"/>
              <a:gd name="connsiteY10" fmla="*/ 5466527 h 5466527"/>
              <a:gd name="connsiteX11" fmla="*/ 0 w 6094413"/>
              <a:gd name="connsiteY11" fmla="*/ 5466527 h 5466527"/>
              <a:gd name="connsiteX0" fmla="*/ 0 w 6094413"/>
              <a:gd name="connsiteY0" fmla="*/ 5089525 h 5089525"/>
              <a:gd name="connsiteX1" fmla="*/ 0 w 6094413"/>
              <a:gd name="connsiteY1" fmla="*/ 0 h 5089525"/>
              <a:gd name="connsiteX2" fmla="*/ 624945 w 6094413"/>
              <a:gd name="connsiteY2" fmla="*/ 0 h 5089525"/>
              <a:gd name="connsiteX3" fmla="*/ 709614 w 6094413"/>
              <a:gd name="connsiteY3" fmla="*/ 0 h 5089525"/>
              <a:gd name="connsiteX4" fmla="*/ 709614 w 6094413"/>
              <a:gd name="connsiteY4" fmla="*/ 444025 h 5089525"/>
              <a:gd name="connsiteX5" fmla="*/ 1146005 w 6094413"/>
              <a:gd name="connsiteY5" fmla="*/ 88317 h 5089525"/>
              <a:gd name="connsiteX6" fmla="*/ 1154917 w 6094413"/>
              <a:gd name="connsiteY6" fmla="*/ 0 h 5089525"/>
              <a:gd name="connsiteX7" fmla="*/ 1171881 w 6094413"/>
              <a:gd name="connsiteY7" fmla="*/ 0 h 5089525"/>
              <a:gd name="connsiteX8" fmla="*/ 3550313 w 6094413"/>
              <a:gd name="connsiteY8" fmla="*/ 0 h 5089525"/>
              <a:gd name="connsiteX9" fmla="*/ 6094413 w 6094413"/>
              <a:gd name="connsiteY9" fmla="*/ 2544762 h 5089525"/>
              <a:gd name="connsiteX10" fmla="*/ 3550313 w 6094413"/>
              <a:gd name="connsiteY10" fmla="*/ 5089525 h 5089525"/>
              <a:gd name="connsiteX11" fmla="*/ 0 w 6094413"/>
              <a:gd name="connsiteY11" fmla="*/ 5089525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4413" h="5089525">
                <a:moveTo>
                  <a:pt x="0" y="5089525"/>
                </a:moveTo>
                <a:cubicBezTo>
                  <a:pt x="393" y="4705966"/>
                  <a:pt x="0" y="2544762"/>
                  <a:pt x="0" y="0"/>
                </a:cubicBezTo>
                <a:cubicBezTo>
                  <a:pt x="164118" y="6185"/>
                  <a:pt x="416630" y="0"/>
                  <a:pt x="624945" y="0"/>
                </a:cubicBezTo>
                <a:lnTo>
                  <a:pt x="709614" y="0"/>
                </a:lnTo>
                <a:lnTo>
                  <a:pt x="709614" y="444025"/>
                </a:lnTo>
                <a:cubicBezTo>
                  <a:pt x="924765" y="444025"/>
                  <a:pt x="1104446" y="291238"/>
                  <a:pt x="1146005" y="88317"/>
                </a:cubicBezTo>
                <a:lnTo>
                  <a:pt x="1154917" y="0"/>
                </a:lnTo>
                <a:lnTo>
                  <a:pt x="1171881" y="0"/>
                </a:lnTo>
                <a:lnTo>
                  <a:pt x="3550313" y="0"/>
                </a:lnTo>
                <a:cubicBezTo>
                  <a:pt x="4954885" y="0"/>
                  <a:pt x="6094413" y="1139825"/>
                  <a:pt x="6094413" y="2544762"/>
                </a:cubicBezTo>
                <a:cubicBezTo>
                  <a:pt x="6094413" y="3951287"/>
                  <a:pt x="4954885" y="5089525"/>
                  <a:pt x="3550313" y="5089525"/>
                </a:cubicBezTo>
                <a:lnTo>
                  <a:pt x="0" y="50895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4517522" y="5078417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4" name="Graphic 7">
            <a:extLst>
              <a:ext uri="{FF2B5EF4-FFF2-40B4-BE49-F238E27FC236}">
                <a16:creationId xmlns:a16="http://schemas.microsoft.com/office/drawing/2014/main" id="{AFEF5B2F-3EB8-CD49-9EF7-BB37F11C7727}"/>
              </a:ext>
            </a:extLst>
          </p:cNvPr>
          <p:cNvSpPr>
            <a:spLocks noChangeAspect="1"/>
          </p:cNvSpPr>
          <p:nvPr userDrawn="1"/>
        </p:nvSpPr>
        <p:spPr>
          <a:xfrm>
            <a:off x="711202" y="438961"/>
            <a:ext cx="445446" cy="890890"/>
          </a:xfrm>
          <a:custGeom>
            <a:avLst/>
            <a:gdLst>
              <a:gd name="connsiteX0" fmla="*/ 0 w 505974"/>
              <a:gd name="connsiteY0" fmla="*/ 1011948 h 1011948"/>
              <a:gd name="connsiteX1" fmla="*/ 505974 w 505974"/>
              <a:gd name="connsiteY1" fmla="*/ 505974 h 1011948"/>
              <a:gd name="connsiteX2" fmla="*/ 0 w 505974"/>
              <a:gd name="connsiteY2" fmla="*/ 0 h 1011948"/>
              <a:gd name="connsiteX3" fmla="*/ 0 w 505974"/>
              <a:gd name="connsiteY3" fmla="*/ 1011948 h 101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974" h="1011948">
                <a:moveTo>
                  <a:pt x="0" y="1011948"/>
                </a:moveTo>
                <a:cubicBezTo>
                  <a:pt x="279298" y="1011948"/>
                  <a:pt x="505974" y="785272"/>
                  <a:pt x="505974" y="505974"/>
                </a:cubicBezTo>
                <a:cubicBezTo>
                  <a:pt x="505974" y="226676"/>
                  <a:pt x="279298" y="0"/>
                  <a:pt x="0" y="0"/>
                </a:cubicBezTo>
                <a:lnTo>
                  <a:pt x="0" y="1011948"/>
                </a:ln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7" name="Title Placeholder 5">
            <a:extLst>
              <a:ext uri="{FF2B5EF4-FFF2-40B4-BE49-F238E27FC236}">
                <a16:creationId xmlns:a16="http://schemas.microsoft.com/office/drawing/2014/main" id="{3CAD06EF-B93E-42B5-A734-D86DB63A203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83376" y="1928283"/>
            <a:ext cx="4916488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25862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27524"/>
            <a:ext cx="3117055" cy="1602954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78A611-6BAF-5C4C-BBAE-C9DBC6627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5468" y="685800"/>
            <a:ext cx="3421066" cy="5435601"/>
          </a:xfrm>
          <a:custGeom>
            <a:avLst/>
            <a:gdLst>
              <a:gd name="connsiteX0" fmla="*/ 1710533 w 3421066"/>
              <a:gd name="connsiteY0" fmla="*/ 0 h 5435601"/>
              <a:gd name="connsiteX1" fmla="*/ 3421066 w 3421066"/>
              <a:gd name="connsiteY1" fmla="*/ 1710533 h 5435601"/>
              <a:gd name="connsiteX2" fmla="*/ 3421065 w 3421066"/>
              <a:gd name="connsiteY2" fmla="*/ 3725068 h 5435601"/>
              <a:gd name="connsiteX3" fmla="*/ 3214613 w 3421066"/>
              <a:gd name="connsiteY3" fmla="*/ 4540410 h 5435601"/>
              <a:gd name="connsiteX4" fmla="*/ 3180387 w 3421066"/>
              <a:gd name="connsiteY4" fmla="*/ 4596748 h 5435601"/>
              <a:gd name="connsiteX5" fmla="*/ 3149009 w 3421066"/>
              <a:gd name="connsiteY5" fmla="*/ 4579717 h 5435601"/>
              <a:gd name="connsiteX6" fmla="*/ 2975621 w 3421066"/>
              <a:gd name="connsiteY6" fmla="*/ 4544711 h 5435601"/>
              <a:gd name="connsiteX7" fmla="*/ 2530176 w 3421066"/>
              <a:gd name="connsiteY7" fmla="*/ 4990156 h 5435601"/>
              <a:gd name="connsiteX8" fmla="*/ 2565182 w 3421066"/>
              <a:gd name="connsiteY8" fmla="*/ 5163543 h 5435601"/>
              <a:gd name="connsiteX9" fmla="*/ 2582213 w 3421066"/>
              <a:gd name="connsiteY9" fmla="*/ 5194922 h 5435601"/>
              <a:gd name="connsiteX10" fmla="*/ 2525874 w 3421066"/>
              <a:gd name="connsiteY10" fmla="*/ 5229149 h 5435601"/>
              <a:gd name="connsiteX11" fmla="*/ 1710532 w 3421066"/>
              <a:gd name="connsiteY11" fmla="*/ 5435601 h 5435601"/>
              <a:gd name="connsiteX12" fmla="*/ 1710533 w 3421066"/>
              <a:gd name="connsiteY12" fmla="*/ 5435600 h 5435601"/>
              <a:gd name="connsiteX13" fmla="*/ 0 w 3421066"/>
              <a:gd name="connsiteY13" fmla="*/ 3725067 h 5435601"/>
              <a:gd name="connsiteX14" fmla="*/ 0 w 3421066"/>
              <a:gd name="connsiteY14" fmla="*/ 1710533 h 5435601"/>
              <a:gd name="connsiteX15" fmla="*/ 1710533 w 3421066"/>
              <a:gd name="connsiteY15" fmla="*/ 0 h 5435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21066" h="5435601">
                <a:moveTo>
                  <a:pt x="1710533" y="0"/>
                </a:moveTo>
                <a:cubicBezTo>
                  <a:pt x="2655234" y="0"/>
                  <a:pt x="3421066" y="765832"/>
                  <a:pt x="3421066" y="1710533"/>
                </a:cubicBezTo>
                <a:cubicBezTo>
                  <a:pt x="3421066" y="2382045"/>
                  <a:pt x="3421065" y="3053556"/>
                  <a:pt x="3421065" y="3725068"/>
                </a:cubicBezTo>
                <a:cubicBezTo>
                  <a:pt x="3421065" y="4020287"/>
                  <a:pt x="3346277" y="4298039"/>
                  <a:pt x="3214613" y="4540410"/>
                </a:cubicBezTo>
                <a:lnTo>
                  <a:pt x="3180387" y="4596748"/>
                </a:lnTo>
                <a:lnTo>
                  <a:pt x="3149009" y="4579717"/>
                </a:lnTo>
                <a:cubicBezTo>
                  <a:pt x="3095717" y="4557176"/>
                  <a:pt x="3037125" y="4544711"/>
                  <a:pt x="2975621" y="4544711"/>
                </a:cubicBezTo>
                <a:cubicBezTo>
                  <a:pt x="2729609" y="4544711"/>
                  <a:pt x="2530176" y="4744144"/>
                  <a:pt x="2530176" y="4990156"/>
                </a:cubicBezTo>
                <a:cubicBezTo>
                  <a:pt x="2530176" y="5051659"/>
                  <a:pt x="2542641" y="5110251"/>
                  <a:pt x="2565182" y="5163543"/>
                </a:cubicBezTo>
                <a:lnTo>
                  <a:pt x="2582213" y="5194922"/>
                </a:lnTo>
                <a:lnTo>
                  <a:pt x="2525874" y="5229149"/>
                </a:lnTo>
                <a:cubicBezTo>
                  <a:pt x="2283503" y="5360813"/>
                  <a:pt x="2005751" y="5435601"/>
                  <a:pt x="1710532" y="5435601"/>
                </a:cubicBezTo>
                <a:lnTo>
                  <a:pt x="1710533" y="5435600"/>
                </a:lnTo>
                <a:cubicBezTo>
                  <a:pt x="765832" y="5435600"/>
                  <a:pt x="0" y="4669768"/>
                  <a:pt x="0" y="3725067"/>
                </a:cubicBezTo>
                <a:lnTo>
                  <a:pt x="0" y="1710533"/>
                </a:lnTo>
                <a:cubicBezTo>
                  <a:pt x="0" y="765832"/>
                  <a:pt x="765832" y="0"/>
                  <a:pt x="171053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BCA9729-3A5A-F640-83F3-29D06259A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7401" y="1909482"/>
            <a:ext cx="3192462" cy="3039036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11">
            <a:extLst>
              <a:ext uri="{FF2B5EF4-FFF2-40B4-BE49-F238E27FC236}">
                <a16:creationId xmlns:a16="http://schemas.microsoft.com/office/drawing/2014/main" id="{AC670E8E-D6F7-9D44-93EC-5635B17B419B}"/>
              </a:ext>
            </a:extLst>
          </p:cNvPr>
          <p:cNvSpPr>
            <a:spLocks noChangeAspect="1"/>
          </p:cNvSpPr>
          <p:nvPr userDrawn="1"/>
        </p:nvSpPr>
        <p:spPr>
          <a:xfrm>
            <a:off x="6915644" y="5230511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517CBA01-3306-BF40-8B9A-92A271D9270F}"/>
              </a:ext>
            </a:extLst>
          </p:cNvPr>
          <p:cNvSpPr>
            <a:spLocks noChangeAspect="1"/>
          </p:cNvSpPr>
          <p:nvPr userDrawn="1"/>
        </p:nvSpPr>
        <p:spPr>
          <a:xfrm>
            <a:off x="4385468" y="68580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3473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25AD4C6-9924-EE46-9CFF-569694C4D3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530961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ctr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1422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AFED8-9F34-394A-9DC1-96289FC391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498" y="2808875"/>
            <a:ext cx="5581130" cy="124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7450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C8DF6F-7FBE-4C76-A16F-F8DF58724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09147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C8DF6F-7FBE-4C76-A16F-F8DF58724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5B1C11C-6B80-4A50-9CF5-D65BC367E2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3733" b="0" i="0" baseline="0">
              <a:latin typeface="CiscoSans ExtraLight" panose="020B0303020201020303"/>
              <a:cs typeface="CiscoSansTT Thin" panose="020B0203020201020303" pitchFamily="34" charset="0"/>
              <a:sym typeface="CiscoSans ExtraLight" panose="020B0303020201020303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8" cy="975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9417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134022"/>
            <a:ext cx="11036459" cy="398737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7" name="Google Shape;660;p31">
            <a:extLst>
              <a:ext uri="{FF2B5EF4-FFF2-40B4-BE49-F238E27FC236}">
                <a16:creationId xmlns:a16="http://schemas.microsoft.com/office/drawing/2014/main" id="{00749C05-9D77-FC4F-B2C8-5A8BF411256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034010">
            <a:off x="10893673" y="-474410"/>
            <a:ext cx="1869535" cy="19069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4AC45C-E5C0-0346-A232-C26C2FBC33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401" y="1158241"/>
            <a:ext cx="11036459" cy="58800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None/>
              <a:defRPr sz="3200" b="0" i="0">
                <a:solidFill>
                  <a:schemeClr val="accent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4589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C474B546-7534-7747-B92C-66B355F685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C2AEE611-0180-1C48-B312-BDE16D87BB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234DA90B-65B5-EB42-90D3-2E1453CCD6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4D2B05F-8A6E-CC44-BA7A-41AFBE619B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9787210-3CDA-474D-9A48-E7EDDE06F7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D38B836C-B0C7-814B-BFF8-36B223B33C0C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9444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_C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8029214-AD1B-1845-9945-40E8D4EC3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" b="227"/>
          <a:stretch/>
        </p:blipFill>
        <p:spPr>
          <a:xfrm>
            <a:off x="8610272" y="4935501"/>
            <a:ext cx="3814484" cy="2205777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E0DF4590-7DC1-458C-B237-920172293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7504766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BD904568-3A8C-4D99-B724-8BA8A281C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0C113A6-3D01-48C2-BE5D-2E7E9ADC0B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BF25D3-72D2-4690-A718-29FDD5727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DF08A8C-82AF-403C-9453-69EEB341C7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31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736A0B3-F343-0F4B-9D45-10C35C20E3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4122" y="474517"/>
            <a:ext cx="4025565" cy="89457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D1840D81-00C8-1542-B30F-2B87A63BCCBD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C5EDEC90-AEF8-40C0-AD5B-FC7FDCE8D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DC2FD1E2-09E8-4E85-AEE7-DFC5F77AE1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B2713B54-A7CF-4AFC-90ED-3A2E2A3765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8CBD1CE-E10E-4D83-A2E9-AE909FBFC9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5853BFA-8B30-4237-9412-FECADEB2AA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76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midn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aphic 3">
            <a:extLst>
              <a:ext uri="{FF2B5EF4-FFF2-40B4-BE49-F238E27FC236}">
                <a16:creationId xmlns:a16="http://schemas.microsoft.com/office/drawing/2014/main" id="{2D1C0FBE-94F5-6F4F-B64C-846BE6DF4A2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938895-F2B1-E04F-B212-69EB8CE682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93F6C21F-7482-4A74-B9E1-F6B6EDDB60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8DF00338-9F9C-4722-BF64-2DE831518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8C402A99-C377-40FD-B787-C6FDF61E93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09BDAC3-CFAD-4175-842E-87034B1758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E4E1EC-2720-4ACA-BBC8-4E825D34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920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736A0B3-F343-0F4B-9D45-10C35C20E3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4122" y="474517"/>
            <a:ext cx="4025565" cy="89457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D1840D81-00C8-1542-B30F-2B87A63BCCBD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C5EDEC90-AEF8-40C0-AD5B-FC7FDCE8D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DC2FD1E2-09E8-4E85-AEE7-DFC5F77AE1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B2713B54-A7CF-4AFC-90ED-3A2E2A3765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8CBD1CE-E10E-4D83-A2E9-AE909FBFC9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5853BFA-8B30-4237-9412-FECADEB2AA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9307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B0B0F6-983D-6C49-A461-17AB7ED314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097976"/>
            <a:ext cx="4218541" cy="266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e 3">
            <a:extLst>
              <a:ext uri="{FF2B5EF4-FFF2-40B4-BE49-F238E27FC236}">
                <a16:creationId xmlns:a16="http://schemas.microsoft.com/office/drawing/2014/main" id="{4ADB5528-D1EA-904A-8D2F-A20AE371944D}"/>
              </a:ext>
            </a:extLst>
          </p:cNvPr>
          <p:cNvSpPr/>
          <p:nvPr userDrawn="1"/>
        </p:nvSpPr>
        <p:spPr>
          <a:xfrm rot="10800000">
            <a:off x="-982000" y="-992578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47B67531-C46F-5A40-BF77-73866555E7D8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6172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729FA8-67D3-714F-8D33-BFEBEDFDF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73AD7603-03F9-ED43-8A3F-1A947CD52A13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41946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midn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80F82BA0-C003-E744-8E06-124B078FAAAA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B775A9-1D8D-446D-B8A2-ABDDE3BE04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5883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D93D3EAC-C709-2941-8730-58EDDF2963F0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8E55D9-2B82-4956-89C0-ECF45F5414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1154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09600" y="6341640"/>
            <a:ext cx="10820400" cy="28786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AEFD676-F41A-634C-9421-F65814998F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D4BD1D73-9A67-9148-A2CE-2A0CCD606E6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52F7E4-B280-4532-AD41-DD59E979B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73112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85800" y="6346259"/>
            <a:ext cx="10820400" cy="287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A0C5BC37-C5EC-654F-8D9D-DB712FAAE74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246626-3E08-4AE1-B9E1-CD2DC3307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ED3633E-1053-4584-9C29-16CDF49CD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57632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6EBB27-EDA7-0641-8946-873D0C1437FF}"/>
              </a:ext>
            </a:extLst>
          </p:cNvPr>
          <p:cNvSpPr/>
          <p:nvPr userDrawn="1"/>
        </p:nvSpPr>
        <p:spPr>
          <a:xfrm>
            <a:off x="711200" y="6239933"/>
            <a:ext cx="11188700" cy="338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56F1B9A4-EE85-DD4C-846C-E1A54787F137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6C1F376-B2C2-4FA3-B667-2D9816577C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C71F823-D3FA-41F9-B559-FB6B8584D9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927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EC797-F1EC-D645-8C28-F6FD3CFC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95236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B0B0F6-983D-6C49-A461-17AB7ED314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097976"/>
            <a:ext cx="4218541" cy="266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e 3">
            <a:extLst>
              <a:ext uri="{FF2B5EF4-FFF2-40B4-BE49-F238E27FC236}">
                <a16:creationId xmlns:a16="http://schemas.microsoft.com/office/drawing/2014/main" id="{4ADB5528-D1EA-904A-8D2F-A20AE371944D}"/>
              </a:ext>
            </a:extLst>
          </p:cNvPr>
          <p:cNvSpPr/>
          <p:nvPr userDrawn="1"/>
        </p:nvSpPr>
        <p:spPr>
          <a:xfrm rot="10800000">
            <a:off x="-982000" y="-992578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47B67531-C46F-5A40-BF77-73866555E7D8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87447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gly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34F76-66B7-574C-8D1C-AC2673072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5B5544B7-32AD-1047-8C3F-350540EA4498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1DCD2C7-E289-4A98-BC5A-BECC3780CD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260270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5BB6D-BD05-D74D-9A8F-81ECF51B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3381B4-BFA4-4DB0-BADC-03B078E306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5467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F7272F7-FEC8-46E5-804F-084CC9690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0949" y="1765300"/>
            <a:ext cx="526891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14836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6BCAE-323A-FD4E-B6AF-1569D1E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78193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0450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685800" y="1765300"/>
            <a:ext cx="10820400" cy="387815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B8E33E-433E-404F-AF40-16DD98C21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C3739EF-E776-E947-9B16-A79764B73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53355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765301"/>
            <a:ext cx="10820400" cy="388431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8C9F33-73C8-3E43-99B0-CABB978FD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595AA5-3A6B-4414-9B12-FB0D991426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76343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Rounded 8">
            <a:extLst>
              <a:ext uri="{FF2B5EF4-FFF2-40B4-BE49-F238E27FC236}">
                <a16:creationId xmlns:a16="http://schemas.microsoft.com/office/drawing/2014/main" id="{7FFCE1ED-9CD7-3A43-B259-EB0C8E4A61C0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Pie 11">
            <a:extLst>
              <a:ext uri="{FF2B5EF4-FFF2-40B4-BE49-F238E27FC236}">
                <a16:creationId xmlns:a16="http://schemas.microsoft.com/office/drawing/2014/main" id="{13045806-B92E-E845-89A2-FC9CCB1C4EBB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2B94144D-4B28-D64F-9C95-E6C7757DF93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D3FD8EBF-E50E-854D-BF07-28D890332D96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E3A935E-C0C0-429A-8A66-356A1730B2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944513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BD6384-F87E-4779-8461-8631FDC9A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2483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7B66876-EE2C-4862-A9F9-2D03B400A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60561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Single Corner Rounded 8">
            <a:extLst>
              <a:ext uri="{FF2B5EF4-FFF2-40B4-BE49-F238E27FC236}">
                <a16:creationId xmlns:a16="http://schemas.microsoft.com/office/drawing/2014/main" id="{F943575E-23A4-8047-BDD0-6F2BC8C1AF97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40FF989-B0C9-4941-B16B-550778B5FD73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B677716-11E0-4714-A688-57E84C728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9E1B9EA2-F47B-4093-9ABF-481721B939C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93990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3">
            <a:extLst>
              <a:ext uri="{FF2B5EF4-FFF2-40B4-BE49-F238E27FC236}">
                <a16:creationId xmlns:a16="http://schemas.microsoft.com/office/drawing/2014/main" id="{DD5A31F0-D135-D24D-B732-49F1655BCE49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1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e 6">
            <a:extLst>
              <a:ext uri="{FF2B5EF4-FFF2-40B4-BE49-F238E27FC236}">
                <a16:creationId xmlns:a16="http://schemas.microsoft.com/office/drawing/2014/main" id="{D1D08433-DB32-E540-97A3-939E1510ADF6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2B9E7221-9371-174C-8F29-DFC44973DE7A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B8E659A-D714-4D1B-877E-99F2299B92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5">
            <a:extLst>
              <a:ext uri="{FF2B5EF4-FFF2-40B4-BE49-F238E27FC236}">
                <a16:creationId xmlns:a16="http://schemas.microsoft.com/office/drawing/2014/main" id="{EA36E986-E431-49F5-A77E-7EBDC9307A8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40553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729FA8-67D3-714F-8D33-BFEBEDFDF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73AD7603-03F9-ED43-8A3F-1A947CD52A13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30750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0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3068C8D-2996-0744-9299-1A52A15BB35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FECF1E-D775-4142-8A15-66323FF120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BA627AB4-AAFC-4E31-86FB-09DBDE7C9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16874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8" name="Chart Placeholder 2">
            <a:extLst>
              <a:ext uri="{FF2B5EF4-FFF2-40B4-BE49-F238E27FC236}">
                <a16:creationId xmlns:a16="http://schemas.microsoft.com/office/drawing/2014/main" id="{86D928F8-1E6B-6E4D-AF93-C07F6AAFE08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730408" y="685801"/>
            <a:ext cx="4775791" cy="548163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71CF72-9ADF-4B1B-81FD-344936C62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15307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6C9357-B3A4-4CEC-95B5-0CA007F5D2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3683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2336537-8FC0-D542-9892-CAB52E30E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3800" y="0"/>
            <a:ext cx="6588200" cy="6858000"/>
          </a:xfrm>
          <a:custGeom>
            <a:avLst/>
            <a:gdLst>
              <a:gd name="connsiteX0" fmla="*/ 0 w 6833015"/>
              <a:gd name="connsiteY0" fmla="*/ 0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833015"/>
              <a:gd name="connsiteY0" fmla="*/ 1588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649825"/>
              <a:gd name="connsiteY0" fmla="*/ 1588 h 6858000"/>
              <a:gd name="connsiteX1" fmla="*/ 6649825 w 6649825"/>
              <a:gd name="connsiteY1" fmla="*/ 0 h 6858000"/>
              <a:gd name="connsiteX2" fmla="*/ 6649825 w 6649825"/>
              <a:gd name="connsiteY2" fmla="*/ 6858000 h 6858000"/>
              <a:gd name="connsiteX3" fmla="*/ 61625 w 6649825"/>
              <a:gd name="connsiteY3" fmla="*/ 6858000 h 6858000"/>
              <a:gd name="connsiteX4" fmla="*/ 148329 w 6649825"/>
              <a:gd name="connsiteY4" fmla="*/ 6849285 h 6858000"/>
              <a:gd name="connsiteX5" fmla="*/ 553826 w 6649825"/>
              <a:gd name="connsiteY5" fmla="*/ 6351588 h 6858000"/>
              <a:gd name="connsiteX6" fmla="*/ 553826 w 6649825"/>
              <a:gd name="connsiteY6" fmla="*/ 1588 h 6858000"/>
              <a:gd name="connsiteX7" fmla="*/ 0 w 6649825"/>
              <a:gd name="connsiteY7" fmla="*/ 1588 h 6858000"/>
              <a:gd name="connsiteX0" fmla="*/ 492201 w 6588200"/>
              <a:gd name="connsiteY0" fmla="*/ 1588 h 6858000"/>
              <a:gd name="connsiteX1" fmla="*/ 6588200 w 6588200"/>
              <a:gd name="connsiteY1" fmla="*/ 0 h 6858000"/>
              <a:gd name="connsiteX2" fmla="*/ 6588200 w 6588200"/>
              <a:gd name="connsiteY2" fmla="*/ 6858000 h 6858000"/>
              <a:gd name="connsiteX3" fmla="*/ 0 w 6588200"/>
              <a:gd name="connsiteY3" fmla="*/ 6858000 h 6858000"/>
              <a:gd name="connsiteX4" fmla="*/ 86704 w 6588200"/>
              <a:gd name="connsiteY4" fmla="*/ 6849285 h 6858000"/>
              <a:gd name="connsiteX5" fmla="*/ 492201 w 6588200"/>
              <a:gd name="connsiteY5" fmla="*/ 6351588 h 6858000"/>
              <a:gd name="connsiteX6" fmla="*/ 492201 w 6588200"/>
              <a:gd name="connsiteY6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88200" h="6858000">
                <a:moveTo>
                  <a:pt x="492201" y="1588"/>
                </a:moveTo>
                <a:lnTo>
                  <a:pt x="6588200" y="0"/>
                </a:lnTo>
                <a:lnTo>
                  <a:pt x="6588200" y="6858000"/>
                </a:lnTo>
                <a:lnTo>
                  <a:pt x="0" y="6858000"/>
                </a:lnTo>
                <a:lnTo>
                  <a:pt x="86704" y="6849285"/>
                </a:lnTo>
                <a:cubicBezTo>
                  <a:pt x="318395" y="6801992"/>
                  <a:pt x="492201" y="6597452"/>
                  <a:pt x="492201" y="6351588"/>
                </a:cubicBezTo>
                <a:lnTo>
                  <a:pt x="492201" y="15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" name="Title Placeholder 5">
            <a:extLst>
              <a:ext uri="{FF2B5EF4-FFF2-40B4-BE49-F238E27FC236}">
                <a16:creationId xmlns:a16="http://schemas.microsoft.com/office/drawing/2014/main" id="{8F14F167-8732-4388-A8C6-E61636C6E6F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173598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D57DA5F-CFD4-1949-91E1-C71CA247F0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604000" cy="6859588"/>
          </a:xfrm>
          <a:custGeom>
            <a:avLst/>
            <a:gdLst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7045325 w 7045325"/>
              <a:gd name="connsiteY2" fmla="*/ 1588 h 6859588"/>
              <a:gd name="connsiteX3" fmla="*/ 6649827 w 7045325"/>
              <a:gd name="connsiteY3" fmla="*/ 1588 h 6859588"/>
              <a:gd name="connsiteX4" fmla="*/ 6096000 w 7045325"/>
              <a:gd name="connsiteY4" fmla="*/ 1588 h 6859588"/>
              <a:gd name="connsiteX5" fmla="*/ 6096000 w 7045325"/>
              <a:gd name="connsiteY5" fmla="*/ 6351588 h 6859588"/>
              <a:gd name="connsiteX6" fmla="*/ 6604000 w 7045325"/>
              <a:gd name="connsiteY6" fmla="*/ 6859588 h 6859588"/>
              <a:gd name="connsiteX7" fmla="*/ 0 w 7045325"/>
              <a:gd name="connsiteY7" fmla="*/ 6859588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649827 w 7045325"/>
              <a:gd name="connsiteY2" fmla="*/ 1588 h 6859588"/>
              <a:gd name="connsiteX3" fmla="*/ 6096000 w 7045325"/>
              <a:gd name="connsiteY3" fmla="*/ 1588 h 6859588"/>
              <a:gd name="connsiteX4" fmla="*/ 6096000 w 7045325"/>
              <a:gd name="connsiteY4" fmla="*/ 6351588 h 6859588"/>
              <a:gd name="connsiteX5" fmla="*/ 6604000 w 7045325"/>
              <a:gd name="connsiteY5" fmla="*/ 6859588 h 6859588"/>
              <a:gd name="connsiteX6" fmla="*/ 0 w 7045325"/>
              <a:gd name="connsiteY6" fmla="*/ 6859588 h 6859588"/>
              <a:gd name="connsiteX7" fmla="*/ 0 w 7045325"/>
              <a:gd name="connsiteY7" fmla="*/ 0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096000 w 7045325"/>
              <a:gd name="connsiteY2" fmla="*/ 1588 h 6859588"/>
              <a:gd name="connsiteX3" fmla="*/ 6096000 w 7045325"/>
              <a:gd name="connsiteY3" fmla="*/ 6351588 h 6859588"/>
              <a:gd name="connsiteX4" fmla="*/ 6604000 w 7045325"/>
              <a:gd name="connsiteY4" fmla="*/ 6859588 h 6859588"/>
              <a:gd name="connsiteX5" fmla="*/ 0 w 7045325"/>
              <a:gd name="connsiteY5" fmla="*/ 6859588 h 6859588"/>
              <a:gd name="connsiteX6" fmla="*/ 0 w 7045325"/>
              <a:gd name="connsiteY6" fmla="*/ 0 h 6859588"/>
              <a:gd name="connsiteX0" fmla="*/ 0 w 6604000"/>
              <a:gd name="connsiteY0" fmla="*/ 0 h 6859588"/>
              <a:gd name="connsiteX1" fmla="*/ 6096000 w 6604000"/>
              <a:gd name="connsiteY1" fmla="*/ 1588 h 6859588"/>
              <a:gd name="connsiteX2" fmla="*/ 6096000 w 6604000"/>
              <a:gd name="connsiteY2" fmla="*/ 6351588 h 6859588"/>
              <a:gd name="connsiteX3" fmla="*/ 6604000 w 6604000"/>
              <a:gd name="connsiteY3" fmla="*/ 6859588 h 6859588"/>
              <a:gd name="connsiteX4" fmla="*/ 0 w 6604000"/>
              <a:gd name="connsiteY4" fmla="*/ 6859588 h 6859588"/>
              <a:gd name="connsiteX5" fmla="*/ 0 w 6604000"/>
              <a:gd name="connsiteY5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4000" h="6859588">
                <a:moveTo>
                  <a:pt x="0" y="0"/>
                </a:moveTo>
                <a:lnTo>
                  <a:pt x="6096000" y="1588"/>
                </a:lnTo>
                <a:lnTo>
                  <a:pt x="6096000" y="6351588"/>
                </a:lnTo>
                <a:cubicBezTo>
                  <a:pt x="6096000" y="6632576"/>
                  <a:pt x="6323013" y="6859588"/>
                  <a:pt x="6604000" y="6859588"/>
                </a:cubicBezTo>
                <a:lnTo>
                  <a:pt x="0" y="685958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3F30A608-D08A-40A0-96DA-1A3308173D6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72240" y="2209800"/>
            <a:ext cx="4927623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66364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F1B78A7-DDF3-594F-BEC1-BCF1A1D264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27863" y="0"/>
            <a:ext cx="5164137" cy="6858000"/>
          </a:xfrm>
          <a:custGeom>
            <a:avLst/>
            <a:gdLst>
              <a:gd name="connsiteX0" fmla="*/ 508000 w 5164137"/>
              <a:gd name="connsiteY0" fmla="*/ 0 h 6858000"/>
              <a:gd name="connsiteX1" fmla="*/ 5164137 w 5164137"/>
              <a:gd name="connsiteY1" fmla="*/ 0 h 6858000"/>
              <a:gd name="connsiteX2" fmla="*/ 5164137 w 5164137"/>
              <a:gd name="connsiteY2" fmla="*/ 6858000 h 6858000"/>
              <a:gd name="connsiteX3" fmla="*/ 0 w 5164137"/>
              <a:gd name="connsiteY3" fmla="*/ 6858000 h 6858000"/>
              <a:gd name="connsiteX4" fmla="*/ 508000 w 5164137"/>
              <a:gd name="connsiteY4" fmla="*/ 6350000 h 6858000"/>
              <a:gd name="connsiteX5" fmla="*/ 508000 w 5164137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4137" h="6858000">
                <a:moveTo>
                  <a:pt x="508000" y="0"/>
                </a:moveTo>
                <a:lnTo>
                  <a:pt x="5164137" y="0"/>
                </a:lnTo>
                <a:lnTo>
                  <a:pt x="5164137" y="6858000"/>
                </a:lnTo>
                <a:lnTo>
                  <a:pt x="0" y="6858000"/>
                </a:lnTo>
                <a:cubicBezTo>
                  <a:pt x="279400" y="6858000"/>
                  <a:pt x="508000" y="6630988"/>
                  <a:pt x="508000" y="6350000"/>
                </a:cubicBezTo>
                <a:cubicBezTo>
                  <a:pt x="508000" y="0"/>
                  <a:pt x="508000" y="0"/>
                  <a:pt x="50800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4F9D8E-790C-4733-AD03-0624149AD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6434185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21432A2-9239-4A4D-A8B5-3DEE975F13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547433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00" y="685800"/>
            <a:ext cx="6434184" cy="397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B1B087-16F2-FA4F-A732-352E16699F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164137" cy="6858000"/>
          </a:xfrm>
          <a:custGeom>
            <a:avLst/>
            <a:gdLst>
              <a:gd name="connsiteX0" fmla="*/ 0 w 5164137"/>
              <a:gd name="connsiteY0" fmla="*/ 0 h 6858000"/>
              <a:gd name="connsiteX1" fmla="*/ 4656137 w 5164137"/>
              <a:gd name="connsiteY1" fmla="*/ 0 h 6858000"/>
              <a:gd name="connsiteX2" fmla="*/ 4656137 w 5164137"/>
              <a:gd name="connsiteY2" fmla="*/ 6350000 h 6858000"/>
              <a:gd name="connsiteX3" fmla="*/ 5164137 w 5164137"/>
              <a:gd name="connsiteY3" fmla="*/ 6858000 h 6858000"/>
              <a:gd name="connsiteX4" fmla="*/ 0 w 51641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64137" h="6858000">
                <a:moveTo>
                  <a:pt x="0" y="0"/>
                </a:moveTo>
                <a:lnTo>
                  <a:pt x="4656137" y="0"/>
                </a:lnTo>
                <a:cubicBezTo>
                  <a:pt x="4656137" y="0"/>
                  <a:pt x="4656137" y="0"/>
                  <a:pt x="4656137" y="6350000"/>
                </a:cubicBezTo>
                <a:cubicBezTo>
                  <a:pt x="4656137" y="6630988"/>
                  <a:pt x="4884738" y="6858000"/>
                  <a:pt x="5164137" y="6858000"/>
                </a:cubicBez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0225D27-6846-41EC-8F98-B022448E0F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45100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745809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23F638-B04C-A04E-81E5-139F1E369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0331" y="0"/>
            <a:ext cx="5291670" cy="6859588"/>
          </a:xfrm>
          <a:custGeom>
            <a:avLst/>
            <a:gdLst>
              <a:gd name="connsiteX0" fmla="*/ 0 w 6862011"/>
              <a:gd name="connsiteY0" fmla="*/ 0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862011"/>
              <a:gd name="connsiteY0" fmla="*/ 1588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652150"/>
              <a:gd name="connsiteY0" fmla="*/ 1588 h 6859588"/>
              <a:gd name="connsiteX1" fmla="*/ 6652150 w 6652150"/>
              <a:gd name="connsiteY1" fmla="*/ 0 h 6859588"/>
              <a:gd name="connsiteX2" fmla="*/ 6652150 w 6652150"/>
              <a:gd name="connsiteY2" fmla="*/ 6859588 h 6859588"/>
              <a:gd name="connsiteX3" fmla="*/ 4788426 w 6652150"/>
              <a:gd name="connsiteY3" fmla="*/ 6859588 h 6859588"/>
              <a:gd name="connsiteX4" fmla="*/ 1360480 w 6652150"/>
              <a:gd name="connsiteY4" fmla="*/ 3430588 h 6859588"/>
              <a:gd name="connsiteX5" fmla="*/ 4788426 w 6652150"/>
              <a:gd name="connsiteY5" fmla="*/ 1588 h 6859588"/>
              <a:gd name="connsiteX6" fmla="*/ 0 w 6652150"/>
              <a:gd name="connsiteY6" fmla="*/ 1588 h 6859588"/>
              <a:gd name="connsiteX0" fmla="*/ 3427946 w 5291670"/>
              <a:gd name="connsiteY0" fmla="*/ 1588 h 6859588"/>
              <a:gd name="connsiteX1" fmla="*/ 5291670 w 5291670"/>
              <a:gd name="connsiteY1" fmla="*/ 0 h 6859588"/>
              <a:gd name="connsiteX2" fmla="*/ 5291670 w 5291670"/>
              <a:gd name="connsiteY2" fmla="*/ 6859588 h 6859588"/>
              <a:gd name="connsiteX3" fmla="*/ 3427946 w 5291670"/>
              <a:gd name="connsiteY3" fmla="*/ 6859588 h 6859588"/>
              <a:gd name="connsiteX4" fmla="*/ 0 w 5291670"/>
              <a:gd name="connsiteY4" fmla="*/ 3430588 h 6859588"/>
              <a:gd name="connsiteX5" fmla="*/ 3427946 w 5291670"/>
              <a:gd name="connsiteY5" fmla="*/ 1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91670" h="6859588">
                <a:moveTo>
                  <a:pt x="3427946" y="1588"/>
                </a:moveTo>
                <a:lnTo>
                  <a:pt x="5291670" y="0"/>
                </a:lnTo>
                <a:lnTo>
                  <a:pt x="5291670" y="6859588"/>
                </a:lnTo>
                <a:lnTo>
                  <a:pt x="3427946" y="6859588"/>
                </a:lnTo>
                <a:cubicBezTo>
                  <a:pt x="1536227" y="6859588"/>
                  <a:pt x="0" y="5324476"/>
                  <a:pt x="0" y="3430588"/>
                </a:cubicBezTo>
                <a:cubicBezTo>
                  <a:pt x="0" y="1536701"/>
                  <a:pt x="1536227" y="1588"/>
                  <a:pt x="3427946" y="15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0D8EC6-C907-4441-BEDC-6F8A4D6F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8452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9F64AE6-0FEC-48A6-A474-727C244050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8452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4732086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00D54B5-B21B-B648-BDAA-E3E05B45ED1F}"/>
              </a:ext>
            </a:extLst>
          </p:cNvPr>
          <p:cNvSpPr/>
          <p:nvPr userDrawn="1"/>
        </p:nvSpPr>
        <p:spPr>
          <a:xfrm>
            <a:off x="499730" y="6241312"/>
            <a:ext cx="4109484" cy="48909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217A76-F276-AB48-BC7A-8A72469539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91671" cy="6858000"/>
          </a:xfrm>
          <a:custGeom>
            <a:avLst/>
            <a:gdLst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6346825 w 6346825"/>
              <a:gd name="connsiteY2" fmla="*/ 1588 h 6858000"/>
              <a:gd name="connsiteX3" fmla="*/ 5988037 w 6346825"/>
              <a:gd name="connsiteY3" fmla="*/ 1588 h 6858000"/>
              <a:gd name="connsiteX4" fmla="*/ 1863724 w 6346825"/>
              <a:gd name="connsiteY4" fmla="*/ 1588 h 6858000"/>
              <a:gd name="connsiteX5" fmla="*/ 5291671 w 6346825"/>
              <a:gd name="connsiteY5" fmla="*/ 3430588 h 6858000"/>
              <a:gd name="connsiteX6" fmla="*/ 2039995 w 6346825"/>
              <a:gd name="connsiteY6" fmla="*/ 6855127 h 6858000"/>
              <a:gd name="connsiteX7" fmla="*/ 1926466 w 6346825"/>
              <a:gd name="connsiteY7" fmla="*/ 6858000 h 6858000"/>
              <a:gd name="connsiteX8" fmla="*/ 0 w 6346825"/>
              <a:gd name="connsiteY8" fmla="*/ 6858000 h 6858000"/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5988037 w 6346825"/>
              <a:gd name="connsiteY2" fmla="*/ 1588 h 6858000"/>
              <a:gd name="connsiteX3" fmla="*/ 1863724 w 6346825"/>
              <a:gd name="connsiteY3" fmla="*/ 1588 h 6858000"/>
              <a:gd name="connsiteX4" fmla="*/ 5291671 w 6346825"/>
              <a:gd name="connsiteY4" fmla="*/ 3430588 h 6858000"/>
              <a:gd name="connsiteX5" fmla="*/ 2039995 w 6346825"/>
              <a:gd name="connsiteY5" fmla="*/ 6855127 h 6858000"/>
              <a:gd name="connsiteX6" fmla="*/ 1926466 w 6346825"/>
              <a:gd name="connsiteY6" fmla="*/ 6858000 h 6858000"/>
              <a:gd name="connsiteX7" fmla="*/ 0 w 6346825"/>
              <a:gd name="connsiteY7" fmla="*/ 6858000 h 6858000"/>
              <a:gd name="connsiteX8" fmla="*/ 0 w 6346825"/>
              <a:gd name="connsiteY8" fmla="*/ 0 h 6858000"/>
              <a:gd name="connsiteX0" fmla="*/ 0 w 5988037"/>
              <a:gd name="connsiteY0" fmla="*/ 0 h 6858000"/>
              <a:gd name="connsiteX1" fmla="*/ 5988037 w 5988037"/>
              <a:gd name="connsiteY1" fmla="*/ 1588 h 6858000"/>
              <a:gd name="connsiteX2" fmla="*/ 1863724 w 5988037"/>
              <a:gd name="connsiteY2" fmla="*/ 1588 h 6858000"/>
              <a:gd name="connsiteX3" fmla="*/ 5291671 w 5988037"/>
              <a:gd name="connsiteY3" fmla="*/ 3430588 h 6858000"/>
              <a:gd name="connsiteX4" fmla="*/ 2039995 w 5988037"/>
              <a:gd name="connsiteY4" fmla="*/ 6855127 h 6858000"/>
              <a:gd name="connsiteX5" fmla="*/ 1926466 w 5988037"/>
              <a:gd name="connsiteY5" fmla="*/ 6858000 h 6858000"/>
              <a:gd name="connsiteX6" fmla="*/ 0 w 5988037"/>
              <a:gd name="connsiteY6" fmla="*/ 6858000 h 6858000"/>
              <a:gd name="connsiteX7" fmla="*/ 0 w 5988037"/>
              <a:gd name="connsiteY7" fmla="*/ 0 h 6858000"/>
              <a:gd name="connsiteX0" fmla="*/ 0 w 5291671"/>
              <a:gd name="connsiteY0" fmla="*/ 0 h 6858000"/>
              <a:gd name="connsiteX1" fmla="*/ 1863724 w 5291671"/>
              <a:gd name="connsiteY1" fmla="*/ 1588 h 6858000"/>
              <a:gd name="connsiteX2" fmla="*/ 5291671 w 5291671"/>
              <a:gd name="connsiteY2" fmla="*/ 3430588 h 6858000"/>
              <a:gd name="connsiteX3" fmla="*/ 2039995 w 5291671"/>
              <a:gd name="connsiteY3" fmla="*/ 6855127 h 6858000"/>
              <a:gd name="connsiteX4" fmla="*/ 1926466 w 5291671"/>
              <a:gd name="connsiteY4" fmla="*/ 6858000 h 6858000"/>
              <a:gd name="connsiteX5" fmla="*/ 0 w 5291671"/>
              <a:gd name="connsiteY5" fmla="*/ 6858000 h 6858000"/>
              <a:gd name="connsiteX6" fmla="*/ 0 w 529167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1671" h="6858000">
                <a:moveTo>
                  <a:pt x="0" y="0"/>
                </a:moveTo>
                <a:lnTo>
                  <a:pt x="1863724" y="1588"/>
                </a:lnTo>
                <a:cubicBezTo>
                  <a:pt x="3755443" y="1588"/>
                  <a:pt x="5291671" y="1536701"/>
                  <a:pt x="5291671" y="3430588"/>
                </a:cubicBezTo>
                <a:cubicBezTo>
                  <a:pt x="5291671" y="5265292"/>
                  <a:pt x="3849957" y="6763293"/>
                  <a:pt x="2039995" y="6855127"/>
                </a:cubicBezTo>
                <a:lnTo>
                  <a:pt x="192646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396E18E-2DBE-4E25-B72B-F7AEEB868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399" y="1765300"/>
            <a:ext cx="560546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C6B682-AE88-4680-8341-961E4BC2C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3334" y="627798"/>
            <a:ext cx="5605464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11825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6653620" y="508446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F131F91E-8165-AB41-983B-510946DFC34F}"/>
              </a:ext>
            </a:extLst>
          </p:cNvPr>
          <p:cNvSpPr>
            <a:spLocks noChangeAspect="1"/>
          </p:cNvSpPr>
          <p:nvPr userDrawn="1"/>
        </p:nvSpPr>
        <p:spPr>
          <a:xfrm>
            <a:off x="11309668" y="343255"/>
            <a:ext cx="882332" cy="1258490"/>
          </a:xfrm>
          <a:custGeom>
            <a:avLst/>
            <a:gdLst>
              <a:gd name="connsiteX0" fmla="*/ 736802 w 882332"/>
              <a:gd name="connsiteY0" fmla="*/ 0 h 1258490"/>
              <a:gd name="connsiteX1" fmla="*/ 882332 w 882332"/>
              <a:gd name="connsiteY1" fmla="*/ 3724 h 1258490"/>
              <a:gd name="connsiteX2" fmla="*/ 882332 w 882332"/>
              <a:gd name="connsiteY2" fmla="*/ 213646 h 1258490"/>
              <a:gd name="connsiteX3" fmla="*/ 856902 w 882332"/>
              <a:gd name="connsiteY3" fmla="*/ 208223 h 1258490"/>
              <a:gd name="connsiteX4" fmla="*/ 285888 w 882332"/>
              <a:gd name="connsiteY4" fmla="*/ 497329 h 1258490"/>
              <a:gd name="connsiteX5" fmla="*/ 295610 w 882332"/>
              <a:gd name="connsiteY5" fmla="*/ 1099442 h 1258490"/>
              <a:gd name="connsiteX6" fmla="*/ 296906 w 882332"/>
              <a:gd name="connsiteY6" fmla="*/ 1101386 h 1258490"/>
              <a:gd name="connsiteX7" fmla="*/ 262554 w 882332"/>
              <a:gd name="connsiteY7" fmla="*/ 1242678 h 1258490"/>
              <a:gd name="connsiteX8" fmla="*/ 119965 w 882332"/>
              <a:gd name="connsiteY8" fmla="*/ 1209624 h 1258490"/>
              <a:gd name="connsiteX9" fmla="*/ 106354 w 882332"/>
              <a:gd name="connsiteY9" fmla="*/ 394277 h 1258490"/>
              <a:gd name="connsiteX10" fmla="*/ 736802 w 882332"/>
              <a:gd name="connsiteY10" fmla="*/ 0 h 125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82332" h="1258490">
                <a:moveTo>
                  <a:pt x="736802" y="0"/>
                </a:moveTo>
                <a:lnTo>
                  <a:pt x="882332" y="3724"/>
                </a:lnTo>
                <a:lnTo>
                  <a:pt x="882332" y="213646"/>
                </a:lnTo>
                <a:lnTo>
                  <a:pt x="856902" y="208223"/>
                </a:lnTo>
                <a:cubicBezTo>
                  <a:pt x="633570" y="183190"/>
                  <a:pt x="405954" y="289766"/>
                  <a:pt x="285888" y="497329"/>
                </a:cubicBezTo>
                <a:cubicBezTo>
                  <a:pt x="176352" y="686583"/>
                  <a:pt x="182187" y="917317"/>
                  <a:pt x="295610" y="1099442"/>
                </a:cubicBezTo>
                <a:lnTo>
                  <a:pt x="296906" y="1101386"/>
                </a:lnTo>
                <a:cubicBezTo>
                  <a:pt x="325423" y="1149996"/>
                  <a:pt x="310515" y="1212864"/>
                  <a:pt x="262554" y="1242678"/>
                </a:cubicBezTo>
                <a:cubicBezTo>
                  <a:pt x="213945" y="1273141"/>
                  <a:pt x="150427" y="1258233"/>
                  <a:pt x="119965" y="1209624"/>
                </a:cubicBezTo>
                <a:cubicBezTo>
                  <a:pt x="-33642" y="963335"/>
                  <a:pt x="-41419" y="650288"/>
                  <a:pt x="106354" y="394277"/>
                </a:cubicBezTo>
                <a:cubicBezTo>
                  <a:pt x="243272" y="157710"/>
                  <a:pt x="483486" y="18109"/>
                  <a:pt x="736802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308D60F-3929-6A46-BAC7-30115C8CAAB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097588" y="885827"/>
            <a:ext cx="6094412" cy="5089525"/>
          </a:xfrm>
          <a:custGeom>
            <a:avLst/>
            <a:gdLst>
              <a:gd name="connsiteX0" fmla="*/ 2544099 w 6094412"/>
              <a:gd name="connsiteY0" fmla="*/ 0 h 5089525"/>
              <a:gd name="connsiteX1" fmla="*/ 5253885 w 6094412"/>
              <a:gd name="connsiteY1" fmla="*/ 0 h 5089525"/>
              <a:gd name="connsiteX2" fmla="*/ 5236618 w 6094412"/>
              <a:gd name="connsiteY2" fmla="*/ 52473 h 5089525"/>
              <a:gd name="connsiteX3" fmla="*/ 5332045 w 6094412"/>
              <a:gd name="connsiteY3" fmla="*/ 667052 h 5089525"/>
              <a:gd name="connsiteX4" fmla="*/ 5474634 w 6094412"/>
              <a:gd name="connsiteY4" fmla="*/ 700106 h 5089525"/>
              <a:gd name="connsiteX5" fmla="*/ 5508986 w 6094412"/>
              <a:gd name="connsiteY5" fmla="*/ 558814 h 5089525"/>
              <a:gd name="connsiteX6" fmla="*/ 5507690 w 6094412"/>
              <a:gd name="connsiteY6" fmla="*/ 556870 h 5089525"/>
              <a:gd name="connsiteX7" fmla="*/ 5462285 w 6094412"/>
              <a:gd name="connsiteY7" fmla="*/ 27496 h 5089525"/>
              <a:gd name="connsiteX8" fmla="*/ 5475773 w 6094412"/>
              <a:gd name="connsiteY8" fmla="*/ 0 h 5089525"/>
              <a:gd name="connsiteX9" fmla="*/ 6094412 w 6094412"/>
              <a:gd name="connsiteY9" fmla="*/ 0 h 5089525"/>
              <a:gd name="connsiteX10" fmla="*/ 6094412 w 6094412"/>
              <a:gd name="connsiteY10" fmla="*/ 5089525 h 5089525"/>
              <a:gd name="connsiteX11" fmla="*/ 2544099 w 6094412"/>
              <a:gd name="connsiteY11" fmla="*/ 5089525 h 5089525"/>
              <a:gd name="connsiteX12" fmla="*/ 1554030 w 6094412"/>
              <a:gd name="connsiteY12" fmla="*/ 4889699 h 5089525"/>
              <a:gd name="connsiteX13" fmla="*/ 1410284 w 6094412"/>
              <a:gd name="connsiteY13" fmla="*/ 4820474 h 5089525"/>
              <a:gd name="connsiteX14" fmla="*/ 1411917 w 6094412"/>
              <a:gd name="connsiteY14" fmla="*/ 4817465 h 5089525"/>
              <a:gd name="connsiteX15" fmla="*/ 1446922 w 6094412"/>
              <a:gd name="connsiteY15" fmla="*/ 4644078 h 5089525"/>
              <a:gd name="connsiteX16" fmla="*/ 1446762 w 6094412"/>
              <a:gd name="connsiteY16" fmla="*/ 4642490 h 5089525"/>
              <a:gd name="connsiteX17" fmla="*/ 1446922 w 6094412"/>
              <a:gd name="connsiteY17" fmla="*/ 4640901 h 5089525"/>
              <a:gd name="connsiteX18" fmla="*/ 1001477 w 6094412"/>
              <a:gd name="connsiteY18" fmla="*/ 4195456 h 5089525"/>
              <a:gd name="connsiteX19" fmla="*/ 752425 w 6094412"/>
              <a:gd name="connsiteY19" fmla="*/ 4271531 h 5089525"/>
              <a:gd name="connsiteX20" fmla="*/ 710425 w 6094412"/>
              <a:gd name="connsiteY20" fmla="*/ 4306185 h 5089525"/>
              <a:gd name="connsiteX21" fmla="*/ 581109 w 6094412"/>
              <a:gd name="connsiteY21" fmla="*/ 4163921 h 5089525"/>
              <a:gd name="connsiteX22" fmla="*/ 0 w 6094412"/>
              <a:gd name="connsiteY22" fmla="*/ 2544762 h 5089525"/>
              <a:gd name="connsiteX23" fmla="*/ 2544099 w 6094412"/>
              <a:gd name="connsiteY23" fmla="*/ 0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094412" h="5089525">
                <a:moveTo>
                  <a:pt x="2544099" y="0"/>
                </a:moveTo>
                <a:lnTo>
                  <a:pt x="5253885" y="0"/>
                </a:lnTo>
                <a:lnTo>
                  <a:pt x="5236618" y="52473"/>
                </a:lnTo>
                <a:cubicBezTo>
                  <a:pt x="5183664" y="260067"/>
                  <a:pt x="5216840" y="482335"/>
                  <a:pt x="5332045" y="667052"/>
                </a:cubicBezTo>
                <a:cubicBezTo>
                  <a:pt x="5362507" y="715661"/>
                  <a:pt x="5426025" y="730569"/>
                  <a:pt x="5474634" y="700106"/>
                </a:cubicBezTo>
                <a:cubicBezTo>
                  <a:pt x="5522595" y="670292"/>
                  <a:pt x="5537503" y="607424"/>
                  <a:pt x="5508986" y="558814"/>
                </a:cubicBezTo>
                <a:lnTo>
                  <a:pt x="5507690" y="556870"/>
                </a:lnTo>
                <a:cubicBezTo>
                  <a:pt x="5408445" y="397511"/>
                  <a:pt x="5391572" y="200935"/>
                  <a:pt x="5462285" y="27496"/>
                </a:cubicBezTo>
                <a:lnTo>
                  <a:pt x="5475773" y="0"/>
                </a:lnTo>
                <a:lnTo>
                  <a:pt x="6094412" y="0"/>
                </a:lnTo>
                <a:lnTo>
                  <a:pt x="6094412" y="5089525"/>
                </a:lnTo>
                <a:lnTo>
                  <a:pt x="2544099" y="5089525"/>
                </a:lnTo>
                <a:cubicBezTo>
                  <a:pt x="2192957" y="5089525"/>
                  <a:pt x="1858379" y="5018385"/>
                  <a:pt x="1554030" y="4889699"/>
                </a:cubicBezTo>
                <a:lnTo>
                  <a:pt x="1410284" y="4820474"/>
                </a:lnTo>
                <a:lnTo>
                  <a:pt x="1411917" y="4817465"/>
                </a:lnTo>
                <a:cubicBezTo>
                  <a:pt x="1434458" y="4764173"/>
                  <a:pt x="1446922" y="4705581"/>
                  <a:pt x="1446922" y="4644078"/>
                </a:cubicBezTo>
                <a:lnTo>
                  <a:pt x="1446762" y="4642490"/>
                </a:lnTo>
                <a:lnTo>
                  <a:pt x="1446922" y="4640901"/>
                </a:lnTo>
                <a:cubicBezTo>
                  <a:pt x="1446922" y="4394889"/>
                  <a:pt x="1247491" y="4195456"/>
                  <a:pt x="1001477" y="4195456"/>
                </a:cubicBezTo>
                <a:cubicBezTo>
                  <a:pt x="909223" y="4195456"/>
                  <a:pt x="823519" y="4223502"/>
                  <a:pt x="752425" y="4271531"/>
                </a:cubicBezTo>
                <a:lnTo>
                  <a:pt x="710425" y="4306185"/>
                </a:lnTo>
                <a:lnTo>
                  <a:pt x="581109" y="4163921"/>
                </a:lnTo>
                <a:cubicBezTo>
                  <a:pt x="218113" y="3724120"/>
                  <a:pt x="0" y="3160117"/>
                  <a:pt x="0" y="2544762"/>
                </a:cubicBezTo>
                <a:cubicBezTo>
                  <a:pt x="0" y="1139825"/>
                  <a:pt x="1139528" y="0"/>
                  <a:pt x="254409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400CDCF1-C22A-4D93-BDAB-222DD4D3F2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825092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AFF544C-339B-804F-A5DD-3C6A7928B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8" y="885825"/>
            <a:ext cx="6094413" cy="5089525"/>
          </a:xfrm>
          <a:custGeom>
            <a:avLst/>
            <a:gdLst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6856412 h 6856412"/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0 h 6856412"/>
              <a:gd name="connsiteX0" fmla="*/ 0 w 6096001"/>
              <a:gd name="connsiteY0" fmla="*/ 0 h 6856273"/>
              <a:gd name="connsiteX1" fmla="*/ 1588 w 6096001"/>
              <a:gd name="connsiteY1" fmla="*/ 0 h 6856273"/>
              <a:gd name="connsiteX2" fmla="*/ 1588 w 6096001"/>
              <a:gd name="connsiteY2" fmla="*/ 884238 h 6856273"/>
              <a:gd name="connsiteX3" fmla="*/ 626533 w 6096001"/>
              <a:gd name="connsiteY3" fmla="*/ 884238 h 6856273"/>
              <a:gd name="connsiteX4" fmla="*/ 711202 w 6096001"/>
              <a:gd name="connsiteY4" fmla="*/ 884238 h 6856273"/>
              <a:gd name="connsiteX5" fmla="*/ 711202 w 6096001"/>
              <a:gd name="connsiteY5" fmla="*/ 1328263 h 6856273"/>
              <a:gd name="connsiteX6" fmla="*/ 1147593 w 6096001"/>
              <a:gd name="connsiteY6" fmla="*/ 972555 h 6856273"/>
              <a:gd name="connsiteX7" fmla="*/ 1156505 w 6096001"/>
              <a:gd name="connsiteY7" fmla="*/ 884238 h 6856273"/>
              <a:gd name="connsiteX8" fmla="*/ 1173469 w 6096001"/>
              <a:gd name="connsiteY8" fmla="*/ 884238 h 6856273"/>
              <a:gd name="connsiteX9" fmla="*/ 3551901 w 6096001"/>
              <a:gd name="connsiteY9" fmla="*/ 884238 h 6856273"/>
              <a:gd name="connsiteX10" fmla="*/ 6096001 w 6096001"/>
              <a:gd name="connsiteY10" fmla="*/ 3429000 h 6856273"/>
              <a:gd name="connsiteX11" fmla="*/ 3551901 w 6096001"/>
              <a:gd name="connsiteY11" fmla="*/ 5973763 h 6856273"/>
              <a:gd name="connsiteX12" fmla="*/ 1588 w 6096001"/>
              <a:gd name="connsiteY12" fmla="*/ 5973763 h 6856273"/>
              <a:gd name="connsiteX13" fmla="*/ 1588 w 6096001"/>
              <a:gd name="connsiteY13" fmla="*/ 6856273 h 6856273"/>
              <a:gd name="connsiteX14" fmla="*/ 0 w 6096001"/>
              <a:gd name="connsiteY14" fmla="*/ 0 h 6856273"/>
              <a:gd name="connsiteX0" fmla="*/ 0 w 6096001"/>
              <a:gd name="connsiteY0" fmla="*/ 0 h 5973763"/>
              <a:gd name="connsiteX1" fmla="*/ 1588 w 6096001"/>
              <a:gd name="connsiteY1" fmla="*/ 0 h 5973763"/>
              <a:gd name="connsiteX2" fmla="*/ 1588 w 6096001"/>
              <a:gd name="connsiteY2" fmla="*/ 884238 h 5973763"/>
              <a:gd name="connsiteX3" fmla="*/ 626533 w 6096001"/>
              <a:gd name="connsiteY3" fmla="*/ 884238 h 5973763"/>
              <a:gd name="connsiteX4" fmla="*/ 711202 w 6096001"/>
              <a:gd name="connsiteY4" fmla="*/ 884238 h 5973763"/>
              <a:gd name="connsiteX5" fmla="*/ 711202 w 6096001"/>
              <a:gd name="connsiteY5" fmla="*/ 1328263 h 5973763"/>
              <a:gd name="connsiteX6" fmla="*/ 1147593 w 6096001"/>
              <a:gd name="connsiteY6" fmla="*/ 972555 h 5973763"/>
              <a:gd name="connsiteX7" fmla="*/ 1156505 w 6096001"/>
              <a:gd name="connsiteY7" fmla="*/ 884238 h 5973763"/>
              <a:gd name="connsiteX8" fmla="*/ 1173469 w 6096001"/>
              <a:gd name="connsiteY8" fmla="*/ 884238 h 5973763"/>
              <a:gd name="connsiteX9" fmla="*/ 3551901 w 6096001"/>
              <a:gd name="connsiteY9" fmla="*/ 884238 h 5973763"/>
              <a:gd name="connsiteX10" fmla="*/ 6096001 w 6096001"/>
              <a:gd name="connsiteY10" fmla="*/ 3429000 h 5973763"/>
              <a:gd name="connsiteX11" fmla="*/ 3551901 w 6096001"/>
              <a:gd name="connsiteY11" fmla="*/ 5973763 h 5973763"/>
              <a:gd name="connsiteX12" fmla="*/ 1588 w 6096001"/>
              <a:gd name="connsiteY12" fmla="*/ 5973763 h 5973763"/>
              <a:gd name="connsiteX13" fmla="*/ 0 w 6096001"/>
              <a:gd name="connsiteY13" fmla="*/ 0 h 5973763"/>
              <a:gd name="connsiteX0" fmla="*/ 262986 w 6357399"/>
              <a:gd name="connsiteY0" fmla="*/ 5973763 h 6416263"/>
              <a:gd name="connsiteX1" fmla="*/ 262986 w 6357399"/>
              <a:gd name="connsiteY1" fmla="*/ 0 h 6416263"/>
              <a:gd name="connsiteX2" fmla="*/ 262986 w 6357399"/>
              <a:gd name="connsiteY2" fmla="*/ 884238 h 6416263"/>
              <a:gd name="connsiteX3" fmla="*/ 887931 w 6357399"/>
              <a:gd name="connsiteY3" fmla="*/ 884238 h 6416263"/>
              <a:gd name="connsiteX4" fmla="*/ 972600 w 6357399"/>
              <a:gd name="connsiteY4" fmla="*/ 884238 h 6416263"/>
              <a:gd name="connsiteX5" fmla="*/ 972600 w 6357399"/>
              <a:gd name="connsiteY5" fmla="*/ 1328263 h 6416263"/>
              <a:gd name="connsiteX6" fmla="*/ 1408991 w 6357399"/>
              <a:gd name="connsiteY6" fmla="*/ 972555 h 6416263"/>
              <a:gd name="connsiteX7" fmla="*/ 1417903 w 6357399"/>
              <a:gd name="connsiteY7" fmla="*/ 884238 h 6416263"/>
              <a:gd name="connsiteX8" fmla="*/ 1434867 w 6357399"/>
              <a:gd name="connsiteY8" fmla="*/ 884238 h 6416263"/>
              <a:gd name="connsiteX9" fmla="*/ 3813299 w 6357399"/>
              <a:gd name="connsiteY9" fmla="*/ 884238 h 6416263"/>
              <a:gd name="connsiteX10" fmla="*/ 6357399 w 6357399"/>
              <a:gd name="connsiteY10" fmla="*/ 3429000 h 6416263"/>
              <a:gd name="connsiteX11" fmla="*/ 3813299 w 6357399"/>
              <a:gd name="connsiteY11" fmla="*/ 5973763 h 6416263"/>
              <a:gd name="connsiteX12" fmla="*/ 262986 w 6357399"/>
              <a:gd name="connsiteY12" fmla="*/ 5973763 h 6416263"/>
              <a:gd name="connsiteX0" fmla="*/ 287699 w 6382112"/>
              <a:gd name="connsiteY0" fmla="*/ 5466527 h 5909027"/>
              <a:gd name="connsiteX1" fmla="*/ 287699 w 6382112"/>
              <a:gd name="connsiteY1" fmla="*/ 377002 h 5909027"/>
              <a:gd name="connsiteX2" fmla="*/ 912644 w 6382112"/>
              <a:gd name="connsiteY2" fmla="*/ 377002 h 5909027"/>
              <a:gd name="connsiteX3" fmla="*/ 997313 w 6382112"/>
              <a:gd name="connsiteY3" fmla="*/ 377002 h 5909027"/>
              <a:gd name="connsiteX4" fmla="*/ 997313 w 6382112"/>
              <a:gd name="connsiteY4" fmla="*/ 821027 h 5909027"/>
              <a:gd name="connsiteX5" fmla="*/ 1433704 w 6382112"/>
              <a:gd name="connsiteY5" fmla="*/ 465319 h 5909027"/>
              <a:gd name="connsiteX6" fmla="*/ 1442616 w 6382112"/>
              <a:gd name="connsiteY6" fmla="*/ 377002 h 5909027"/>
              <a:gd name="connsiteX7" fmla="*/ 1459580 w 6382112"/>
              <a:gd name="connsiteY7" fmla="*/ 377002 h 5909027"/>
              <a:gd name="connsiteX8" fmla="*/ 3838012 w 6382112"/>
              <a:gd name="connsiteY8" fmla="*/ 377002 h 5909027"/>
              <a:gd name="connsiteX9" fmla="*/ 6382112 w 6382112"/>
              <a:gd name="connsiteY9" fmla="*/ 2921764 h 5909027"/>
              <a:gd name="connsiteX10" fmla="*/ 3838012 w 6382112"/>
              <a:gd name="connsiteY10" fmla="*/ 5466527 h 5909027"/>
              <a:gd name="connsiteX11" fmla="*/ 287699 w 6382112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466527"/>
              <a:gd name="connsiteX1" fmla="*/ 262987 w 6357400"/>
              <a:gd name="connsiteY1" fmla="*/ 377002 h 5466527"/>
              <a:gd name="connsiteX2" fmla="*/ 887932 w 6357400"/>
              <a:gd name="connsiteY2" fmla="*/ 377002 h 5466527"/>
              <a:gd name="connsiteX3" fmla="*/ 972601 w 6357400"/>
              <a:gd name="connsiteY3" fmla="*/ 377002 h 5466527"/>
              <a:gd name="connsiteX4" fmla="*/ 972601 w 6357400"/>
              <a:gd name="connsiteY4" fmla="*/ 821027 h 5466527"/>
              <a:gd name="connsiteX5" fmla="*/ 1408992 w 6357400"/>
              <a:gd name="connsiteY5" fmla="*/ 465319 h 5466527"/>
              <a:gd name="connsiteX6" fmla="*/ 1417904 w 6357400"/>
              <a:gd name="connsiteY6" fmla="*/ 377002 h 5466527"/>
              <a:gd name="connsiteX7" fmla="*/ 1434868 w 6357400"/>
              <a:gd name="connsiteY7" fmla="*/ 377002 h 5466527"/>
              <a:gd name="connsiteX8" fmla="*/ 3813300 w 6357400"/>
              <a:gd name="connsiteY8" fmla="*/ 377002 h 5466527"/>
              <a:gd name="connsiteX9" fmla="*/ 6357400 w 6357400"/>
              <a:gd name="connsiteY9" fmla="*/ 2921764 h 5466527"/>
              <a:gd name="connsiteX10" fmla="*/ 3813300 w 6357400"/>
              <a:gd name="connsiteY10" fmla="*/ 5466527 h 5466527"/>
              <a:gd name="connsiteX11" fmla="*/ 262987 w 6357400"/>
              <a:gd name="connsiteY11" fmla="*/ 5466527 h 5466527"/>
              <a:gd name="connsiteX0" fmla="*/ 0 w 6094413"/>
              <a:gd name="connsiteY0" fmla="*/ 5466527 h 5466527"/>
              <a:gd name="connsiteX1" fmla="*/ 0 w 6094413"/>
              <a:gd name="connsiteY1" fmla="*/ 377002 h 5466527"/>
              <a:gd name="connsiteX2" fmla="*/ 624945 w 6094413"/>
              <a:gd name="connsiteY2" fmla="*/ 377002 h 5466527"/>
              <a:gd name="connsiteX3" fmla="*/ 709614 w 6094413"/>
              <a:gd name="connsiteY3" fmla="*/ 377002 h 5466527"/>
              <a:gd name="connsiteX4" fmla="*/ 709614 w 6094413"/>
              <a:gd name="connsiteY4" fmla="*/ 821027 h 5466527"/>
              <a:gd name="connsiteX5" fmla="*/ 1146005 w 6094413"/>
              <a:gd name="connsiteY5" fmla="*/ 465319 h 5466527"/>
              <a:gd name="connsiteX6" fmla="*/ 1154917 w 6094413"/>
              <a:gd name="connsiteY6" fmla="*/ 377002 h 5466527"/>
              <a:gd name="connsiteX7" fmla="*/ 1171881 w 6094413"/>
              <a:gd name="connsiteY7" fmla="*/ 377002 h 5466527"/>
              <a:gd name="connsiteX8" fmla="*/ 3550313 w 6094413"/>
              <a:gd name="connsiteY8" fmla="*/ 377002 h 5466527"/>
              <a:gd name="connsiteX9" fmla="*/ 6094413 w 6094413"/>
              <a:gd name="connsiteY9" fmla="*/ 2921764 h 5466527"/>
              <a:gd name="connsiteX10" fmla="*/ 3550313 w 6094413"/>
              <a:gd name="connsiteY10" fmla="*/ 5466527 h 5466527"/>
              <a:gd name="connsiteX11" fmla="*/ 0 w 6094413"/>
              <a:gd name="connsiteY11" fmla="*/ 5466527 h 5466527"/>
              <a:gd name="connsiteX0" fmla="*/ 0 w 6094413"/>
              <a:gd name="connsiteY0" fmla="*/ 5089525 h 5089525"/>
              <a:gd name="connsiteX1" fmla="*/ 0 w 6094413"/>
              <a:gd name="connsiteY1" fmla="*/ 0 h 5089525"/>
              <a:gd name="connsiteX2" fmla="*/ 624945 w 6094413"/>
              <a:gd name="connsiteY2" fmla="*/ 0 h 5089525"/>
              <a:gd name="connsiteX3" fmla="*/ 709614 w 6094413"/>
              <a:gd name="connsiteY3" fmla="*/ 0 h 5089525"/>
              <a:gd name="connsiteX4" fmla="*/ 709614 w 6094413"/>
              <a:gd name="connsiteY4" fmla="*/ 444025 h 5089525"/>
              <a:gd name="connsiteX5" fmla="*/ 1146005 w 6094413"/>
              <a:gd name="connsiteY5" fmla="*/ 88317 h 5089525"/>
              <a:gd name="connsiteX6" fmla="*/ 1154917 w 6094413"/>
              <a:gd name="connsiteY6" fmla="*/ 0 h 5089525"/>
              <a:gd name="connsiteX7" fmla="*/ 1171881 w 6094413"/>
              <a:gd name="connsiteY7" fmla="*/ 0 h 5089525"/>
              <a:gd name="connsiteX8" fmla="*/ 3550313 w 6094413"/>
              <a:gd name="connsiteY8" fmla="*/ 0 h 5089525"/>
              <a:gd name="connsiteX9" fmla="*/ 6094413 w 6094413"/>
              <a:gd name="connsiteY9" fmla="*/ 2544762 h 5089525"/>
              <a:gd name="connsiteX10" fmla="*/ 3550313 w 6094413"/>
              <a:gd name="connsiteY10" fmla="*/ 5089525 h 5089525"/>
              <a:gd name="connsiteX11" fmla="*/ 0 w 6094413"/>
              <a:gd name="connsiteY11" fmla="*/ 5089525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4413" h="5089525">
                <a:moveTo>
                  <a:pt x="0" y="5089525"/>
                </a:moveTo>
                <a:cubicBezTo>
                  <a:pt x="393" y="4705966"/>
                  <a:pt x="0" y="2544762"/>
                  <a:pt x="0" y="0"/>
                </a:cubicBezTo>
                <a:cubicBezTo>
                  <a:pt x="164118" y="6185"/>
                  <a:pt x="416630" y="0"/>
                  <a:pt x="624945" y="0"/>
                </a:cubicBezTo>
                <a:lnTo>
                  <a:pt x="709614" y="0"/>
                </a:lnTo>
                <a:lnTo>
                  <a:pt x="709614" y="444025"/>
                </a:lnTo>
                <a:cubicBezTo>
                  <a:pt x="924765" y="444025"/>
                  <a:pt x="1104446" y="291238"/>
                  <a:pt x="1146005" y="88317"/>
                </a:cubicBezTo>
                <a:lnTo>
                  <a:pt x="1154917" y="0"/>
                </a:lnTo>
                <a:lnTo>
                  <a:pt x="1171881" y="0"/>
                </a:lnTo>
                <a:lnTo>
                  <a:pt x="3550313" y="0"/>
                </a:lnTo>
                <a:cubicBezTo>
                  <a:pt x="4954885" y="0"/>
                  <a:pt x="6094413" y="1139825"/>
                  <a:pt x="6094413" y="2544762"/>
                </a:cubicBezTo>
                <a:cubicBezTo>
                  <a:pt x="6094413" y="3951287"/>
                  <a:pt x="4954885" y="5089525"/>
                  <a:pt x="3550313" y="5089525"/>
                </a:cubicBezTo>
                <a:lnTo>
                  <a:pt x="0" y="50895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4517522" y="5078417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4" name="Graphic 7">
            <a:extLst>
              <a:ext uri="{FF2B5EF4-FFF2-40B4-BE49-F238E27FC236}">
                <a16:creationId xmlns:a16="http://schemas.microsoft.com/office/drawing/2014/main" id="{AFEF5B2F-3EB8-CD49-9EF7-BB37F11C7727}"/>
              </a:ext>
            </a:extLst>
          </p:cNvPr>
          <p:cNvSpPr>
            <a:spLocks noChangeAspect="1"/>
          </p:cNvSpPr>
          <p:nvPr userDrawn="1"/>
        </p:nvSpPr>
        <p:spPr>
          <a:xfrm>
            <a:off x="711202" y="438961"/>
            <a:ext cx="445446" cy="890890"/>
          </a:xfrm>
          <a:custGeom>
            <a:avLst/>
            <a:gdLst>
              <a:gd name="connsiteX0" fmla="*/ 0 w 505974"/>
              <a:gd name="connsiteY0" fmla="*/ 1011948 h 1011948"/>
              <a:gd name="connsiteX1" fmla="*/ 505974 w 505974"/>
              <a:gd name="connsiteY1" fmla="*/ 505974 h 1011948"/>
              <a:gd name="connsiteX2" fmla="*/ 0 w 505974"/>
              <a:gd name="connsiteY2" fmla="*/ 0 h 1011948"/>
              <a:gd name="connsiteX3" fmla="*/ 0 w 505974"/>
              <a:gd name="connsiteY3" fmla="*/ 1011948 h 101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974" h="1011948">
                <a:moveTo>
                  <a:pt x="0" y="1011948"/>
                </a:moveTo>
                <a:cubicBezTo>
                  <a:pt x="279298" y="1011948"/>
                  <a:pt x="505974" y="785272"/>
                  <a:pt x="505974" y="505974"/>
                </a:cubicBezTo>
                <a:cubicBezTo>
                  <a:pt x="505974" y="226676"/>
                  <a:pt x="279298" y="0"/>
                  <a:pt x="0" y="0"/>
                </a:cubicBezTo>
                <a:lnTo>
                  <a:pt x="0" y="1011948"/>
                </a:ln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7" name="Title Placeholder 5">
            <a:extLst>
              <a:ext uri="{FF2B5EF4-FFF2-40B4-BE49-F238E27FC236}">
                <a16:creationId xmlns:a16="http://schemas.microsoft.com/office/drawing/2014/main" id="{3CAD06EF-B93E-42B5-A734-D86DB63A203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83376" y="1928283"/>
            <a:ext cx="4916488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63274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midn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80F82BA0-C003-E744-8E06-124B078FAAAA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B775A9-1D8D-446D-B8A2-ABDDE3BE04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8069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27524"/>
            <a:ext cx="3117055" cy="1602954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78A611-6BAF-5C4C-BBAE-C9DBC6627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5468" y="685800"/>
            <a:ext cx="3421066" cy="5435601"/>
          </a:xfrm>
          <a:custGeom>
            <a:avLst/>
            <a:gdLst>
              <a:gd name="connsiteX0" fmla="*/ 1710533 w 3421066"/>
              <a:gd name="connsiteY0" fmla="*/ 0 h 5435601"/>
              <a:gd name="connsiteX1" fmla="*/ 3421066 w 3421066"/>
              <a:gd name="connsiteY1" fmla="*/ 1710533 h 5435601"/>
              <a:gd name="connsiteX2" fmla="*/ 3421065 w 3421066"/>
              <a:gd name="connsiteY2" fmla="*/ 3725068 h 5435601"/>
              <a:gd name="connsiteX3" fmla="*/ 3214613 w 3421066"/>
              <a:gd name="connsiteY3" fmla="*/ 4540410 h 5435601"/>
              <a:gd name="connsiteX4" fmla="*/ 3180387 w 3421066"/>
              <a:gd name="connsiteY4" fmla="*/ 4596748 h 5435601"/>
              <a:gd name="connsiteX5" fmla="*/ 3149009 w 3421066"/>
              <a:gd name="connsiteY5" fmla="*/ 4579717 h 5435601"/>
              <a:gd name="connsiteX6" fmla="*/ 2975621 w 3421066"/>
              <a:gd name="connsiteY6" fmla="*/ 4544711 h 5435601"/>
              <a:gd name="connsiteX7" fmla="*/ 2530176 w 3421066"/>
              <a:gd name="connsiteY7" fmla="*/ 4990156 h 5435601"/>
              <a:gd name="connsiteX8" fmla="*/ 2565182 w 3421066"/>
              <a:gd name="connsiteY8" fmla="*/ 5163543 h 5435601"/>
              <a:gd name="connsiteX9" fmla="*/ 2582213 w 3421066"/>
              <a:gd name="connsiteY9" fmla="*/ 5194922 h 5435601"/>
              <a:gd name="connsiteX10" fmla="*/ 2525874 w 3421066"/>
              <a:gd name="connsiteY10" fmla="*/ 5229149 h 5435601"/>
              <a:gd name="connsiteX11" fmla="*/ 1710532 w 3421066"/>
              <a:gd name="connsiteY11" fmla="*/ 5435601 h 5435601"/>
              <a:gd name="connsiteX12" fmla="*/ 1710533 w 3421066"/>
              <a:gd name="connsiteY12" fmla="*/ 5435600 h 5435601"/>
              <a:gd name="connsiteX13" fmla="*/ 0 w 3421066"/>
              <a:gd name="connsiteY13" fmla="*/ 3725067 h 5435601"/>
              <a:gd name="connsiteX14" fmla="*/ 0 w 3421066"/>
              <a:gd name="connsiteY14" fmla="*/ 1710533 h 5435601"/>
              <a:gd name="connsiteX15" fmla="*/ 1710533 w 3421066"/>
              <a:gd name="connsiteY15" fmla="*/ 0 h 5435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21066" h="5435601">
                <a:moveTo>
                  <a:pt x="1710533" y="0"/>
                </a:moveTo>
                <a:cubicBezTo>
                  <a:pt x="2655234" y="0"/>
                  <a:pt x="3421066" y="765832"/>
                  <a:pt x="3421066" y="1710533"/>
                </a:cubicBezTo>
                <a:cubicBezTo>
                  <a:pt x="3421066" y="2382045"/>
                  <a:pt x="3421065" y="3053556"/>
                  <a:pt x="3421065" y="3725068"/>
                </a:cubicBezTo>
                <a:cubicBezTo>
                  <a:pt x="3421065" y="4020287"/>
                  <a:pt x="3346277" y="4298039"/>
                  <a:pt x="3214613" y="4540410"/>
                </a:cubicBezTo>
                <a:lnTo>
                  <a:pt x="3180387" y="4596748"/>
                </a:lnTo>
                <a:lnTo>
                  <a:pt x="3149009" y="4579717"/>
                </a:lnTo>
                <a:cubicBezTo>
                  <a:pt x="3095717" y="4557176"/>
                  <a:pt x="3037125" y="4544711"/>
                  <a:pt x="2975621" y="4544711"/>
                </a:cubicBezTo>
                <a:cubicBezTo>
                  <a:pt x="2729609" y="4544711"/>
                  <a:pt x="2530176" y="4744144"/>
                  <a:pt x="2530176" y="4990156"/>
                </a:cubicBezTo>
                <a:cubicBezTo>
                  <a:pt x="2530176" y="5051659"/>
                  <a:pt x="2542641" y="5110251"/>
                  <a:pt x="2565182" y="5163543"/>
                </a:cubicBezTo>
                <a:lnTo>
                  <a:pt x="2582213" y="5194922"/>
                </a:lnTo>
                <a:lnTo>
                  <a:pt x="2525874" y="5229149"/>
                </a:lnTo>
                <a:cubicBezTo>
                  <a:pt x="2283503" y="5360813"/>
                  <a:pt x="2005751" y="5435601"/>
                  <a:pt x="1710532" y="5435601"/>
                </a:cubicBezTo>
                <a:lnTo>
                  <a:pt x="1710533" y="5435600"/>
                </a:lnTo>
                <a:cubicBezTo>
                  <a:pt x="765832" y="5435600"/>
                  <a:pt x="0" y="4669768"/>
                  <a:pt x="0" y="3725067"/>
                </a:cubicBezTo>
                <a:lnTo>
                  <a:pt x="0" y="1710533"/>
                </a:lnTo>
                <a:cubicBezTo>
                  <a:pt x="0" y="765832"/>
                  <a:pt x="765832" y="0"/>
                  <a:pt x="171053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BCA9729-3A5A-F640-83F3-29D06259A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7401" y="1909482"/>
            <a:ext cx="3192462" cy="3039036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11">
            <a:extLst>
              <a:ext uri="{FF2B5EF4-FFF2-40B4-BE49-F238E27FC236}">
                <a16:creationId xmlns:a16="http://schemas.microsoft.com/office/drawing/2014/main" id="{AC670E8E-D6F7-9D44-93EC-5635B17B419B}"/>
              </a:ext>
            </a:extLst>
          </p:cNvPr>
          <p:cNvSpPr>
            <a:spLocks noChangeAspect="1"/>
          </p:cNvSpPr>
          <p:nvPr userDrawn="1"/>
        </p:nvSpPr>
        <p:spPr>
          <a:xfrm>
            <a:off x="6915644" y="5230511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517CBA01-3306-BF40-8B9A-92A271D9270F}"/>
              </a:ext>
            </a:extLst>
          </p:cNvPr>
          <p:cNvSpPr>
            <a:spLocks noChangeAspect="1"/>
          </p:cNvSpPr>
          <p:nvPr userDrawn="1"/>
        </p:nvSpPr>
        <p:spPr>
          <a:xfrm>
            <a:off x="4385468" y="68580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720938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25AD4C6-9924-EE46-9CFF-569694C4D3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530961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ctr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724317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AFED8-9F34-394A-9DC1-96289FC391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498" y="2808875"/>
            <a:ext cx="5581130" cy="124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36485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134022"/>
            <a:ext cx="11036459" cy="398737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7" name="Google Shape;660;p31">
            <a:extLst>
              <a:ext uri="{FF2B5EF4-FFF2-40B4-BE49-F238E27FC236}">
                <a16:creationId xmlns:a16="http://schemas.microsoft.com/office/drawing/2014/main" id="{00749C05-9D77-FC4F-B2C8-5A8BF411256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034010">
            <a:off x="10893673" y="-474410"/>
            <a:ext cx="1869535" cy="19069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4AC45C-E5C0-0346-A232-C26C2FBC33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401" y="1158241"/>
            <a:ext cx="11036459" cy="58800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None/>
              <a:defRPr sz="3200" b="0" i="0">
                <a:solidFill>
                  <a:schemeClr val="accent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44649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668615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C474B546-7534-7747-B92C-66B355F685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C2AEE611-0180-1C48-B312-BDE16D87BB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234DA90B-65B5-EB42-90D3-2E1453CCD6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4D2B05F-8A6E-CC44-BA7A-41AFBE619B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9787210-3CDA-474D-9A48-E7EDDE06F7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D38B836C-B0C7-814B-BFF8-36B223B33C0C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237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_C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8029214-AD1B-1845-9945-40E8D4EC3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" b="227"/>
          <a:stretch/>
        </p:blipFill>
        <p:spPr>
          <a:xfrm>
            <a:off x="8610272" y="4935501"/>
            <a:ext cx="3814484" cy="2205777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E0DF4590-7DC1-458C-B237-920172293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7504766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BD904568-3A8C-4D99-B724-8BA8A281C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0C113A6-3D01-48C2-BE5D-2E7E9ADC0B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BF25D3-72D2-4690-A718-29FDD5727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DF08A8C-82AF-403C-9453-69EEB341C7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920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midn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aphic 3">
            <a:extLst>
              <a:ext uri="{FF2B5EF4-FFF2-40B4-BE49-F238E27FC236}">
                <a16:creationId xmlns:a16="http://schemas.microsoft.com/office/drawing/2014/main" id="{2D1C0FBE-94F5-6F4F-B64C-846BE6DF4A2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938895-F2B1-E04F-B212-69EB8CE682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93F6C21F-7482-4A74-B9E1-F6B6EDDB60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8DF00338-9F9C-4722-BF64-2DE831518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8C402A99-C377-40FD-B787-C6FDF61E93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09BDAC3-CFAD-4175-842E-87034B1758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E4E1EC-2720-4ACA-BBC8-4E825D34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190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736A0B3-F343-0F4B-9D45-10C35C20E3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4122" y="474517"/>
            <a:ext cx="4025565" cy="89457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D1840D81-00C8-1542-B30F-2B87A63BCCBD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C5EDEC90-AEF8-40C0-AD5B-FC7FDCE8D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DC2FD1E2-09E8-4E85-AEE7-DFC5F77AE1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B2713B54-A7CF-4AFC-90ED-3A2E2A3765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8CBD1CE-E10E-4D83-A2E9-AE909FBFC9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5853BFA-8B30-4237-9412-FECADEB2AA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76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B0B0F6-983D-6C49-A461-17AB7ED314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097976"/>
            <a:ext cx="4218541" cy="266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e 3">
            <a:extLst>
              <a:ext uri="{FF2B5EF4-FFF2-40B4-BE49-F238E27FC236}">
                <a16:creationId xmlns:a16="http://schemas.microsoft.com/office/drawing/2014/main" id="{4ADB5528-D1EA-904A-8D2F-A20AE371944D}"/>
              </a:ext>
            </a:extLst>
          </p:cNvPr>
          <p:cNvSpPr/>
          <p:nvPr userDrawn="1"/>
        </p:nvSpPr>
        <p:spPr>
          <a:xfrm rot="10800000">
            <a:off x="-982000" y="-992578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47B67531-C46F-5A40-BF77-73866555E7D8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87447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D93D3EAC-C709-2941-8730-58EDDF2963F0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8E55D9-2B82-4956-89C0-ECF45F5414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41847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729FA8-67D3-714F-8D33-BFEBEDFDF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73AD7603-03F9-ED43-8A3F-1A947CD52A13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30750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midn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80F82BA0-C003-E744-8E06-124B078FAAAA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B775A9-1D8D-446D-B8A2-ABDDE3BE04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80694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D93D3EAC-C709-2941-8730-58EDDF2963F0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8E55D9-2B82-4956-89C0-ECF45F5414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41847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09600" y="6341640"/>
            <a:ext cx="10820400" cy="28786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AEFD676-F41A-634C-9421-F65814998F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D4BD1D73-9A67-9148-A2CE-2A0CCD606E6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52F7E4-B280-4532-AD41-DD59E979B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35854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85800" y="6346259"/>
            <a:ext cx="10820400" cy="287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A0C5BC37-C5EC-654F-8D9D-DB712FAAE74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246626-3E08-4AE1-B9E1-CD2DC3307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ED3633E-1053-4584-9C29-16CDF49CD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616578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6EBB27-EDA7-0641-8946-873D0C1437FF}"/>
              </a:ext>
            </a:extLst>
          </p:cNvPr>
          <p:cNvSpPr/>
          <p:nvPr userDrawn="1"/>
        </p:nvSpPr>
        <p:spPr>
          <a:xfrm>
            <a:off x="711200" y="6239933"/>
            <a:ext cx="11188700" cy="338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56F1B9A4-EE85-DD4C-846C-E1A54787F137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6C1F376-B2C2-4FA3-B667-2D9816577C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C71F823-D3FA-41F9-B559-FB6B8584D9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423908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ith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EC797-F1EC-D645-8C28-F6FD3CFC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989805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ith gly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34F76-66B7-574C-8D1C-AC2673072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5B5544B7-32AD-1047-8C3F-350540EA4498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1DCD2C7-E289-4A98-BC5A-BECC3780CD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3482728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2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5BB6D-BD05-D74D-9A8F-81ECF51B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3381B4-BFA4-4DB0-BADC-03B078E306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5467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F7272F7-FEC8-46E5-804F-084CC9690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0949" y="1765300"/>
            <a:ext cx="526891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79941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6BCAE-323A-FD4E-B6AF-1569D1E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09885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09600" y="6341640"/>
            <a:ext cx="10820400" cy="28786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AEFD676-F41A-634C-9421-F65814998F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D4BD1D73-9A67-9148-A2CE-2A0CCD606E6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52F7E4-B280-4532-AD41-DD59E979B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35854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19078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685800" y="1765300"/>
            <a:ext cx="10820400" cy="387815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B8E33E-433E-404F-AF40-16DD98C21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C3739EF-E776-E947-9B16-A79764B73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554961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765301"/>
            <a:ext cx="10820400" cy="388431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8C9F33-73C8-3E43-99B0-CABB978FD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595AA5-3A6B-4414-9B12-FB0D991426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04439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Rounded 8">
            <a:extLst>
              <a:ext uri="{FF2B5EF4-FFF2-40B4-BE49-F238E27FC236}">
                <a16:creationId xmlns:a16="http://schemas.microsoft.com/office/drawing/2014/main" id="{7FFCE1ED-9CD7-3A43-B259-EB0C8E4A61C0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Pie 11">
            <a:extLst>
              <a:ext uri="{FF2B5EF4-FFF2-40B4-BE49-F238E27FC236}">
                <a16:creationId xmlns:a16="http://schemas.microsoft.com/office/drawing/2014/main" id="{13045806-B92E-E845-89A2-FC9CCB1C4EBB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2B94144D-4B28-D64F-9C95-E6C7757DF93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Cisco and/or its affiliates. All rights reserved.   Cisco Confidential</a:t>
            </a:r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D3FD8EBF-E50E-854D-BF07-28D890332D96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E3A935E-C0C0-429A-8A66-356A1730B2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35948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BD6384-F87E-4779-8461-8631FDC9A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2483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7B66876-EE2C-4862-A9F9-2D03B400A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5536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Single Corner Rounded 8">
            <a:extLst>
              <a:ext uri="{FF2B5EF4-FFF2-40B4-BE49-F238E27FC236}">
                <a16:creationId xmlns:a16="http://schemas.microsoft.com/office/drawing/2014/main" id="{F943575E-23A4-8047-BDD0-6F2BC8C1AF97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40FF989-B0C9-4941-B16B-550778B5FD73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B677716-11E0-4714-A688-57E84C728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9E1B9EA2-F47B-4093-9ABF-481721B939C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541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3">
            <a:extLst>
              <a:ext uri="{FF2B5EF4-FFF2-40B4-BE49-F238E27FC236}">
                <a16:creationId xmlns:a16="http://schemas.microsoft.com/office/drawing/2014/main" id="{DD5A31F0-D135-D24D-B732-49F1655BCE49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1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e 6">
            <a:extLst>
              <a:ext uri="{FF2B5EF4-FFF2-40B4-BE49-F238E27FC236}">
                <a16:creationId xmlns:a16="http://schemas.microsoft.com/office/drawing/2014/main" id="{D1D08433-DB32-E540-97A3-939E1510ADF6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2B9E7221-9371-174C-8F29-DFC44973DE7A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B8E659A-D714-4D1B-877E-99F2299B92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5">
            <a:extLst>
              <a:ext uri="{FF2B5EF4-FFF2-40B4-BE49-F238E27FC236}">
                <a16:creationId xmlns:a16="http://schemas.microsoft.com/office/drawing/2014/main" id="{EA36E986-E431-49F5-A77E-7EBDC9307A8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5134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0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3068C8D-2996-0744-9299-1A52A15BB35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FECF1E-D775-4142-8A15-66323FF120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BA627AB4-AAFC-4E31-86FB-09DBDE7C9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186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8" name="Chart Placeholder 2">
            <a:extLst>
              <a:ext uri="{FF2B5EF4-FFF2-40B4-BE49-F238E27FC236}">
                <a16:creationId xmlns:a16="http://schemas.microsoft.com/office/drawing/2014/main" id="{86D928F8-1E6B-6E4D-AF93-C07F6AAFE08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730408" y="685801"/>
            <a:ext cx="4775791" cy="548163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71CF72-9ADF-4B1B-81FD-344936C62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15307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6C9357-B3A4-4CEC-95B5-0CA007F5D2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30501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2336537-8FC0-D542-9892-CAB52E30E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3800" y="0"/>
            <a:ext cx="6588200" cy="6858000"/>
          </a:xfrm>
          <a:custGeom>
            <a:avLst/>
            <a:gdLst>
              <a:gd name="connsiteX0" fmla="*/ 0 w 6833015"/>
              <a:gd name="connsiteY0" fmla="*/ 0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833015"/>
              <a:gd name="connsiteY0" fmla="*/ 1588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649825"/>
              <a:gd name="connsiteY0" fmla="*/ 1588 h 6858000"/>
              <a:gd name="connsiteX1" fmla="*/ 6649825 w 6649825"/>
              <a:gd name="connsiteY1" fmla="*/ 0 h 6858000"/>
              <a:gd name="connsiteX2" fmla="*/ 6649825 w 6649825"/>
              <a:gd name="connsiteY2" fmla="*/ 6858000 h 6858000"/>
              <a:gd name="connsiteX3" fmla="*/ 61625 w 6649825"/>
              <a:gd name="connsiteY3" fmla="*/ 6858000 h 6858000"/>
              <a:gd name="connsiteX4" fmla="*/ 148329 w 6649825"/>
              <a:gd name="connsiteY4" fmla="*/ 6849285 h 6858000"/>
              <a:gd name="connsiteX5" fmla="*/ 553826 w 6649825"/>
              <a:gd name="connsiteY5" fmla="*/ 6351588 h 6858000"/>
              <a:gd name="connsiteX6" fmla="*/ 553826 w 6649825"/>
              <a:gd name="connsiteY6" fmla="*/ 1588 h 6858000"/>
              <a:gd name="connsiteX7" fmla="*/ 0 w 6649825"/>
              <a:gd name="connsiteY7" fmla="*/ 1588 h 6858000"/>
              <a:gd name="connsiteX0" fmla="*/ 492201 w 6588200"/>
              <a:gd name="connsiteY0" fmla="*/ 1588 h 6858000"/>
              <a:gd name="connsiteX1" fmla="*/ 6588200 w 6588200"/>
              <a:gd name="connsiteY1" fmla="*/ 0 h 6858000"/>
              <a:gd name="connsiteX2" fmla="*/ 6588200 w 6588200"/>
              <a:gd name="connsiteY2" fmla="*/ 6858000 h 6858000"/>
              <a:gd name="connsiteX3" fmla="*/ 0 w 6588200"/>
              <a:gd name="connsiteY3" fmla="*/ 6858000 h 6858000"/>
              <a:gd name="connsiteX4" fmla="*/ 86704 w 6588200"/>
              <a:gd name="connsiteY4" fmla="*/ 6849285 h 6858000"/>
              <a:gd name="connsiteX5" fmla="*/ 492201 w 6588200"/>
              <a:gd name="connsiteY5" fmla="*/ 6351588 h 6858000"/>
              <a:gd name="connsiteX6" fmla="*/ 492201 w 6588200"/>
              <a:gd name="connsiteY6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88200" h="6858000">
                <a:moveTo>
                  <a:pt x="492201" y="1588"/>
                </a:moveTo>
                <a:lnTo>
                  <a:pt x="6588200" y="0"/>
                </a:lnTo>
                <a:lnTo>
                  <a:pt x="6588200" y="6858000"/>
                </a:lnTo>
                <a:lnTo>
                  <a:pt x="0" y="6858000"/>
                </a:lnTo>
                <a:lnTo>
                  <a:pt x="86704" y="6849285"/>
                </a:lnTo>
                <a:cubicBezTo>
                  <a:pt x="318395" y="6801992"/>
                  <a:pt x="492201" y="6597452"/>
                  <a:pt x="492201" y="6351588"/>
                </a:cubicBezTo>
                <a:lnTo>
                  <a:pt x="492201" y="15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" name="Title Placeholder 5">
            <a:extLst>
              <a:ext uri="{FF2B5EF4-FFF2-40B4-BE49-F238E27FC236}">
                <a16:creationId xmlns:a16="http://schemas.microsoft.com/office/drawing/2014/main" id="{8F14F167-8732-4388-A8C6-E61636C6E6F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35930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74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9" Type="http://schemas.openxmlformats.org/officeDocument/2006/relationships/slideLayout" Target="../slideLayouts/slideLayout113.xml"/><Relationship Id="rId21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slideLayout" Target="../slideLayouts/slideLayout107.xml"/><Relationship Id="rId38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slideLayout" Target="../slideLayouts/slideLayout106.xml"/><Relationship Id="rId37" Type="http://schemas.openxmlformats.org/officeDocument/2006/relationships/slideLayout" Target="../slideLayouts/slideLayout111.xml"/><Relationship Id="rId40" Type="http://schemas.openxmlformats.org/officeDocument/2006/relationships/theme" Target="../theme/theme3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36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slideLayout" Target="../slideLayouts/slideLayout104.xml"/><Relationship Id="rId35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378777" y="6444496"/>
            <a:ext cx="12901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 kern="12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pPr algn="l" defTabSz="81430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spc="27" baseline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CA3755C-2F76-834D-AEF7-61506CCB5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10995120" cy="4571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3174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  <p:sldLayoutId id="2147483700" r:id="rId26"/>
    <p:sldLayoutId id="2147483701" r:id="rId27"/>
    <p:sldLayoutId id="2147483702" r:id="rId28"/>
    <p:sldLayoutId id="2147483703" r:id="rId29"/>
    <p:sldLayoutId id="2147483704" r:id="rId30"/>
    <p:sldLayoutId id="2147483705" r:id="rId31"/>
    <p:sldLayoutId id="2147483706" r:id="rId32"/>
    <p:sldLayoutId id="2147483707" r:id="rId33"/>
    <p:sldLayoutId id="2147483708" r:id="rId34"/>
    <p:sldLayoutId id="2147483709" r:id="rId35"/>
    <p:sldLayoutId id="2147483746" r:id="rId36"/>
    <p:sldLayoutId id="2147483748" r:id="rId37"/>
  </p:sldLayoutIdLst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8600" indent="-228600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58788" indent="-230188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688975" indent="-22383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SzPct val="80000"/>
        <a:buFont typeface="Arial" charset="0"/>
        <a:buChar char="•"/>
        <a:tabLst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5">
          <p15:clr>
            <a:srgbClr val="F26B43"/>
          </p15:clr>
        </p15:guide>
        <p15:guide id="2" pos="429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915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pos="373">
          <p15:clr>
            <a:srgbClr val="F26B43"/>
          </p15:clr>
        </p15:guide>
        <p15:guide id="8" pos="7307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1110">
          <p15:clr>
            <a:srgbClr val="F26B43"/>
          </p15:clr>
        </p15:guide>
        <p15:guide id="11" pos="4057">
          <p15:clr>
            <a:srgbClr val="F26B43"/>
          </p15:clr>
        </p15:guide>
        <p15:guide id="12" pos="362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378777" y="6444496"/>
            <a:ext cx="12901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 kern="12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pPr algn="l" defTabSz="81430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spc="27" baseline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CA3755C-2F76-834D-AEF7-61506CCB5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10995120" cy="4571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6902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945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907" r:id="rId36"/>
    <p:sldLayoutId id="2147483944" r:id="rId37"/>
  </p:sldLayoutIdLst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8600" indent="-228600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58788" indent="-230188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688975" indent="-22383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SzPct val="80000"/>
        <a:buFont typeface="Arial" charset="0"/>
        <a:buChar char="•"/>
        <a:tabLst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5">
          <p15:clr>
            <a:srgbClr val="F26B43"/>
          </p15:clr>
        </p15:guide>
        <p15:guide id="2" pos="429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915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pos="373">
          <p15:clr>
            <a:srgbClr val="F26B43"/>
          </p15:clr>
        </p15:guide>
        <p15:guide id="8" pos="7307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1110">
          <p15:clr>
            <a:srgbClr val="F26B43"/>
          </p15:clr>
        </p15:guide>
        <p15:guide id="11" pos="4057">
          <p15:clr>
            <a:srgbClr val="F26B43"/>
          </p15:clr>
        </p15:guide>
        <p15:guide id="12" pos="362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Cisco and/or its affiliates. All rights reserved. 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378777" y="6444496"/>
            <a:ext cx="12901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 kern="12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pPr algn="l" defTabSz="81430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spc="27" baseline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CA3755C-2F76-834D-AEF7-61506CCB5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10995120" cy="4571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3174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  <p:sldLayoutId id="2147483876" r:id="rId7"/>
    <p:sldLayoutId id="2147483877" r:id="rId8"/>
    <p:sldLayoutId id="2147483878" r:id="rId9"/>
    <p:sldLayoutId id="2147483879" r:id="rId10"/>
    <p:sldLayoutId id="2147483880" r:id="rId11"/>
    <p:sldLayoutId id="2147483881" r:id="rId12"/>
    <p:sldLayoutId id="2147483882" r:id="rId13"/>
    <p:sldLayoutId id="2147483883" r:id="rId14"/>
    <p:sldLayoutId id="2147483884" r:id="rId15"/>
    <p:sldLayoutId id="2147483885" r:id="rId16"/>
    <p:sldLayoutId id="2147483886" r:id="rId17"/>
    <p:sldLayoutId id="2147483887" r:id="rId18"/>
    <p:sldLayoutId id="2147483888" r:id="rId19"/>
    <p:sldLayoutId id="2147483889" r:id="rId20"/>
    <p:sldLayoutId id="2147483890" r:id="rId21"/>
    <p:sldLayoutId id="2147483891" r:id="rId22"/>
    <p:sldLayoutId id="2147483892" r:id="rId23"/>
    <p:sldLayoutId id="2147483893" r:id="rId24"/>
    <p:sldLayoutId id="2147483894" r:id="rId25"/>
    <p:sldLayoutId id="2147483895" r:id="rId26"/>
    <p:sldLayoutId id="2147483896" r:id="rId27"/>
    <p:sldLayoutId id="2147483897" r:id="rId28"/>
    <p:sldLayoutId id="2147483898" r:id="rId29"/>
    <p:sldLayoutId id="2147483899" r:id="rId30"/>
    <p:sldLayoutId id="2147483900" r:id="rId31"/>
    <p:sldLayoutId id="2147483901" r:id="rId32"/>
    <p:sldLayoutId id="2147483902" r:id="rId33"/>
    <p:sldLayoutId id="2147483903" r:id="rId34"/>
    <p:sldLayoutId id="2147483904" r:id="rId35"/>
    <p:sldLayoutId id="2147483863" r:id="rId36"/>
    <p:sldLayoutId id="2147483862" r:id="rId37"/>
    <p:sldLayoutId id="2147483864" r:id="rId38"/>
    <p:sldLayoutId id="2147483868" r:id="rId39"/>
  </p:sldLayoutIdLst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8600" indent="-228600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58788" indent="-230188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688975" indent="-22383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SzPct val="80000"/>
        <a:buFont typeface="Arial" charset="0"/>
        <a:buChar char="•"/>
        <a:tabLst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5">
          <p15:clr>
            <a:srgbClr val="F26B43"/>
          </p15:clr>
        </p15:guide>
        <p15:guide id="2" pos="429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915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pos="373">
          <p15:clr>
            <a:srgbClr val="F26B43"/>
          </p15:clr>
        </p15:guide>
        <p15:guide id="8" pos="7307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1110">
          <p15:clr>
            <a:srgbClr val="F26B43"/>
          </p15:clr>
        </p15:guide>
        <p15:guide id="11" pos="4057">
          <p15:clr>
            <a:srgbClr val="F26B43"/>
          </p15:clr>
        </p15:guide>
        <p15:guide id="12" pos="362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E1F6C0B-99D4-A945-81F9-205E53107B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7375" y="2120900"/>
            <a:ext cx="11017250" cy="2034963"/>
          </a:xfrm>
        </p:spPr>
        <p:txBody>
          <a:bodyPr/>
          <a:lstStyle/>
          <a:p>
            <a:r>
              <a:rPr lang="en-US" sz="4400" dirty="0"/>
              <a:t>Hybrid Application Monitoring (AppDynamic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C69994-683F-48DA-9C07-7A201D1482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7046" y="4362452"/>
            <a:ext cx="11017908" cy="398668"/>
          </a:xfrm>
        </p:spPr>
        <p:txBody>
          <a:bodyPr/>
          <a:lstStyle/>
          <a:p>
            <a:r>
              <a:rPr lang="en-US" sz="1600" dirty="0"/>
              <a:t>Maturity Assessment Report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C0A30373-56F0-3840-8058-8F1E4CEC98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7150" y="676533"/>
            <a:ext cx="25273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EB7FFABE-CA84-AF9D-0DA6-504AEB3CE447}"/>
              </a:ext>
            </a:extLst>
          </p:cNvPr>
          <p:cNvSpPr txBox="1">
            <a:spLocks/>
          </p:cNvSpPr>
          <p:nvPr/>
        </p:nvSpPr>
        <p:spPr>
          <a:xfrm>
            <a:off x="587375" y="3956529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 algn="l" defTabSz="912261" rtl="0" eaLnBrk="1" fontAlgn="base" hangingPunct="1">
              <a:lnSpc>
                <a:spcPct val="95000"/>
              </a:lnSpc>
              <a:spcBef>
                <a:spcPts val="1433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en-US" sz="2933" b="0" i="0" kern="1200" baseline="0">
                <a:solidFill>
                  <a:schemeClr val="tx2"/>
                </a:solidFill>
                <a:latin typeface="+mj-lt"/>
                <a:ea typeface="ＭＳ Ｐゴシック" charset="0"/>
                <a:cs typeface="CiscoSansTT ExtraLight"/>
              </a:defRPr>
            </a:lvl1pPr>
            <a:lvl2pPr marL="406365" indent="0" algn="l" defTabSz="912261" rtl="0" eaLnBrk="1" fontAlgn="base" hangingPunct="1">
              <a:lnSpc>
                <a:spcPct val="95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charset="0"/>
              <a:buNone/>
              <a:tabLst/>
              <a:defRPr lang="en-US" sz="1867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569854" indent="0" algn="l" defTabSz="912261" rtl="0" eaLnBrk="1" fontAlgn="base" hangingPunct="1">
              <a:lnSpc>
                <a:spcPct val="95000"/>
              </a:lnSpc>
              <a:spcBef>
                <a:spcPts val="833"/>
              </a:spcBef>
              <a:spcAft>
                <a:spcPct val="0"/>
              </a:spcAft>
              <a:buSzPct val="80000"/>
              <a:buFont typeface="Arial" charset="0"/>
              <a:buNone/>
              <a:tabLst/>
              <a:defRPr lang="en-US" sz="1600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688908" indent="0" algn="l" defTabSz="912261" rtl="0" eaLnBrk="1" fontAlgn="base" hangingPunct="1">
              <a:lnSpc>
                <a:spcPct val="95000"/>
              </a:lnSpc>
              <a:spcBef>
                <a:spcPts val="833"/>
              </a:spcBef>
              <a:spcAft>
                <a:spcPct val="0"/>
              </a:spcAft>
              <a:buFont typeface="Arial" charset="0"/>
              <a:buNone/>
              <a:defRPr lang="en-US" sz="1467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801608" indent="0" algn="l" defTabSz="912261" rtl="0" eaLnBrk="1" fontAlgn="base" hangingPunct="1">
              <a:lnSpc>
                <a:spcPct val="95000"/>
              </a:lnSpc>
              <a:spcBef>
                <a:spcPts val="833"/>
              </a:spcBef>
              <a:spcAft>
                <a:spcPct val="0"/>
              </a:spcAft>
              <a:buFont typeface="Arial" charset="0"/>
              <a:buNone/>
              <a:defRPr lang="en-US" sz="1467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1151779" indent="-228588" algn="l" defTabSz="914346" rtl="0" eaLnBrk="1" latinLnBrk="0" hangingPunct="1">
              <a:spcBef>
                <a:spcPts val="800"/>
              </a:spcBef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7761" indent="-228557" algn="l" defTabSz="914346" rtl="0" eaLnBrk="1" latinLnBrk="0" hangingPunct="1">
              <a:spcBef>
                <a:spcPts val="800"/>
              </a:spcBef>
              <a:buFont typeface="Arial" pitchFamily="34" charset="0"/>
              <a:buChar char="•"/>
              <a:defRPr sz="1067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13" indent="0" algn="l" defTabSz="914346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74" indent="-228588" algn="l" defTabSz="91434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igital Journey Overview </a:t>
            </a:r>
          </a:p>
        </p:txBody>
      </p:sp>
    </p:spTree>
    <p:extLst>
      <p:ext uri="{BB962C8B-B14F-4D97-AF65-F5344CB8AC3E}">
        <p14:creationId xmlns:p14="http://schemas.microsoft.com/office/powerpoint/2010/main" val="2692027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Engage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39C740-C4DF-8F92-A188-9862C9E807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7173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Adop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3BEE68-9FCC-8AB0-4762-9CF2BA8D96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1232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Adopt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ADF4DF-E590-C877-5FE6-F67795C8B0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4094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Optimiz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EB8DABB-FB77-F100-7E69-2F9A9FD683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6" y="0"/>
            <a:ext cx="2733893" cy="1618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5979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Optimize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68BB0B-0397-3C39-02E8-3258B8F196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6" y="0"/>
            <a:ext cx="2733893" cy="1618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3370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8262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17647DC6-AD65-040C-17F4-ECD01960D9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223" y="1012418"/>
            <a:ext cx="9678882" cy="4833164"/>
          </a:xfrm>
          <a:prstGeom prst="rect">
            <a:avLst/>
          </a:prstGeom>
        </p:spPr>
      </p:pic>
      <p:sp>
        <p:nvSpPr>
          <p:cNvPr id="9" name="onboard">
            <a:extLst>
              <a:ext uri="{FF2B5EF4-FFF2-40B4-BE49-F238E27FC236}">
                <a16:creationId xmlns:a16="http://schemas.microsoft.com/office/drawing/2014/main" id="{BF24A7DF-BCC3-16FE-78C3-BAA51DF80EDF}"/>
              </a:ext>
            </a:extLst>
          </p:cNvPr>
          <p:cNvSpPr/>
          <p:nvPr/>
        </p:nvSpPr>
        <p:spPr>
          <a:xfrm>
            <a:off x="6774603" y="4601817"/>
            <a:ext cx="198783" cy="2186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implement">
            <a:extLst>
              <a:ext uri="{FF2B5EF4-FFF2-40B4-BE49-F238E27FC236}">
                <a16:creationId xmlns:a16="http://schemas.microsoft.com/office/drawing/2014/main" id="{E2E46277-3C02-B94E-1343-DECE87E5D105}"/>
              </a:ext>
            </a:extLst>
          </p:cNvPr>
          <p:cNvSpPr/>
          <p:nvPr/>
        </p:nvSpPr>
        <p:spPr>
          <a:xfrm>
            <a:off x="7467601" y="4719572"/>
            <a:ext cx="198783" cy="2186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use">
            <a:extLst>
              <a:ext uri="{FF2B5EF4-FFF2-40B4-BE49-F238E27FC236}">
                <a16:creationId xmlns:a16="http://schemas.microsoft.com/office/drawing/2014/main" id="{F142D7AB-3BF8-C785-87BA-C35ACB6989A3}"/>
              </a:ext>
            </a:extLst>
          </p:cNvPr>
          <p:cNvSpPr/>
          <p:nvPr/>
        </p:nvSpPr>
        <p:spPr>
          <a:xfrm>
            <a:off x="7997010" y="4502622"/>
            <a:ext cx="198783" cy="2186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engage">
            <a:extLst>
              <a:ext uri="{FF2B5EF4-FFF2-40B4-BE49-F238E27FC236}">
                <a16:creationId xmlns:a16="http://schemas.microsoft.com/office/drawing/2014/main" id="{3B863E63-6B1B-6B19-5B9F-69B764267259}"/>
              </a:ext>
            </a:extLst>
          </p:cNvPr>
          <p:cNvSpPr/>
          <p:nvPr/>
        </p:nvSpPr>
        <p:spPr>
          <a:xfrm>
            <a:off x="8384482" y="4135759"/>
            <a:ext cx="198783" cy="2186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adopt">
            <a:extLst>
              <a:ext uri="{FF2B5EF4-FFF2-40B4-BE49-F238E27FC236}">
                <a16:creationId xmlns:a16="http://schemas.microsoft.com/office/drawing/2014/main" id="{2C3A9A40-7DA7-1F77-A03A-8355517DFA24}"/>
              </a:ext>
            </a:extLst>
          </p:cNvPr>
          <p:cNvSpPr/>
          <p:nvPr/>
        </p:nvSpPr>
        <p:spPr>
          <a:xfrm>
            <a:off x="8536269" y="3544132"/>
            <a:ext cx="198783" cy="2186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ptimize">
            <a:extLst>
              <a:ext uri="{FF2B5EF4-FFF2-40B4-BE49-F238E27FC236}">
                <a16:creationId xmlns:a16="http://schemas.microsoft.com/office/drawing/2014/main" id="{B76DC9F7-99F8-AC70-EBAF-902ACA7BA6F2}"/>
              </a:ext>
            </a:extLst>
          </p:cNvPr>
          <p:cNvSpPr/>
          <p:nvPr/>
        </p:nvSpPr>
        <p:spPr>
          <a:xfrm>
            <a:off x="8436878" y="3171168"/>
            <a:ext cx="198783" cy="2186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8831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Onboard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588CAB-9BAC-2B7C-7F31-3B044CF51B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7" y="0"/>
            <a:ext cx="2733893" cy="161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0031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Onboard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resources </a:t>
            </a:r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and document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588CAB-9BAC-2B7C-7F31-3B044CF51B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7" y="0"/>
            <a:ext cx="2733893" cy="161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3225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Implemen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915C847-78CB-497C-C9A1-652748002C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1179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Implement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7E5ECC-9D8D-EC66-1C17-E4D8FD9F87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9994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Us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8E5D156-7A0A-7014-8959-C44CBF5830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7" y="-1"/>
            <a:ext cx="2734894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0443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Use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4E400C-A9E6-789C-84E9-B86CF70D3E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7" y="-1"/>
            <a:ext cx="2734894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586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Engag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31BC433-9DC1-CE3A-E1C2-BCA8425811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2429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6xSmjgQwGkTPOLAQVX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6xSmjgQwGkTPOLAQVXZw"/>
</p:tagLst>
</file>

<file path=ppt/theme/theme1.xml><?xml version="1.0" encoding="utf-8"?>
<a:theme xmlns:a="http://schemas.openxmlformats.org/drawingml/2006/main" name="CX Theme 16x9">
  <a:themeElements>
    <a:clrScheme name="Cisco Core Palette_2019_default">
      <a:dk1>
        <a:srgbClr val="282828"/>
      </a:dk1>
      <a:lt1>
        <a:srgbClr val="0D274D"/>
      </a:lt1>
      <a:dk2>
        <a:srgbClr val="1E4471"/>
      </a:dk2>
      <a:lt2>
        <a:srgbClr val="FFFFFF"/>
      </a:lt2>
      <a:accent1>
        <a:srgbClr val="00BCEB"/>
      </a:accent1>
      <a:accent2>
        <a:srgbClr val="6EBE4A"/>
      </a:accent2>
      <a:accent3>
        <a:srgbClr val="1E4471"/>
      </a:accent3>
      <a:accent4>
        <a:srgbClr val="9E9EA2"/>
      </a:accent4>
      <a:accent5>
        <a:srgbClr val="FBAB18"/>
      </a:accent5>
      <a:accent6>
        <a:srgbClr val="E3241B"/>
      </a:accent6>
      <a:hlink>
        <a:srgbClr val="00BCEB"/>
      </a:hlink>
      <a:folHlink>
        <a:srgbClr val="1E4471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brid Application Monitoring Overview Deck" id="{1AF34D78-8E9D-9048-A902-8AF4FE06C07C}" vid="{97DE6E81-52B7-1F48-BB61-B5D323067DE0}"/>
    </a:ext>
  </a:extLst>
</a:theme>
</file>

<file path=ppt/theme/theme2.xml><?xml version="1.0" encoding="utf-8"?>
<a:theme xmlns:a="http://schemas.openxmlformats.org/drawingml/2006/main" name="1_CX Theme 16x9">
  <a:themeElements>
    <a:clrScheme name="Cisco Core Palette_2019_default">
      <a:dk1>
        <a:srgbClr val="282828"/>
      </a:dk1>
      <a:lt1>
        <a:srgbClr val="0D274D"/>
      </a:lt1>
      <a:dk2>
        <a:srgbClr val="1E4471"/>
      </a:dk2>
      <a:lt2>
        <a:srgbClr val="FFFFFF"/>
      </a:lt2>
      <a:accent1>
        <a:srgbClr val="00BCEB"/>
      </a:accent1>
      <a:accent2>
        <a:srgbClr val="6EBE4A"/>
      </a:accent2>
      <a:accent3>
        <a:srgbClr val="1E4471"/>
      </a:accent3>
      <a:accent4>
        <a:srgbClr val="9E9EA2"/>
      </a:accent4>
      <a:accent5>
        <a:srgbClr val="FBAB18"/>
      </a:accent5>
      <a:accent6>
        <a:srgbClr val="E3241B"/>
      </a:accent6>
      <a:hlink>
        <a:srgbClr val="00BCEB"/>
      </a:hlink>
      <a:folHlink>
        <a:srgbClr val="1E4471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brid Application Monitoring Overview Deck" id="{1AF34D78-8E9D-9048-A902-8AF4FE06C07C}" vid="{A5974E8F-F14F-284C-859C-34AD9D92255C}"/>
    </a:ext>
  </a:extLst>
</a:theme>
</file>

<file path=ppt/theme/theme3.xml><?xml version="1.0" encoding="utf-8"?>
<a:theme xmlns:a="http://schemas.openxmlformats.org/drawingml/2006/main" name="CX Theme 16x9">
  <a:themeElements>
    <a:clrScheme name="Cisco Core Palette_2019_default">
      <a:dk1>
        <a:srgbClr val="282828"/>
      </a:dk1>
      <a:lt1>
        <a:srgbClr val="0D274D"/>
      </a:lt1>
      <a:dk2>
        <a:srgbClr val="1E4471"/>
      </a:dk2>
      <a:lt2>
        <a:srgbClr val="FFFFFF"/>
      </a:lt2>
      <a:accent1>
        <a:srgbClr val="00BCEB"/>
      </a:accent1>
      <a:accent2>
        <a:srgbClr val="6EBE4A"/>
      </a:accent2>
      <a:accent3>
        <a:srgbClr val="1E4471"/>
      </a:accent3>
      <a:accent4>
        <a:srgbClr val="9E9EA2"/>
      </a:accent4>
      <a:accent5>
        <a:srgbClr val="FBAB18"/>
      </a:accent5>
      <a:accent6>
        <a:srgbClr val="E3241B"/>
      </a:accent6>
      <a:hlink>
        <a:srgbClr val="00BCEB"/>
      </a:hlink>
      <a:folHlink>
        <a:srgbClr val="1E4471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brid Application Monitoring Overview Deck" id="{1AF34D78-8E9D-9048-A902-8AF4FE06C07C}" vid="{2B2F4A38-316E-6C42-8D17-A3D36C7F02E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78665ad-f783-4f30-b3cb-b870e5173973" xsi:nil="true"/>
    <lcf76f155ced4ddcb4097134ff3c332f xmlns="c068e80e-f499-4ba4-b97d-8eb81f7bf0a4">
      <Terms xmlns="http://schemas.microsoft.com/office/infopath/2007/PartnerControls"/>
    </lcf76f155ced4ddcb4097134ff3c332f>
    <SharedWithUsers xmlns="d78665ad-f783-4f30-b3cb-b870e5173973">
      <UserInfo>
        <DisplayName>Christine Sumner (chsumner)</DisplayName>
        <AccountId>229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638FBC164A6C4987893577CA81BDCE" ma:contentTypeVersion="12" ma:contentTypeDescription="Create a new document." ma:contentTypeScope="" ma:versionID="ad216d817d9e9210cab45cf1c00ab7cf">
  <xsd:schema xmlns:xsd="http://www.w3.org/2001/XMLSchema" xmlns:xs="http://www.w3.org/2001/XMLSchema" xmlns:p="http://schemas.microsoft.com/office/2006/metadata/properties" xmlns:ns2="c068e80e-f499-4ba4-b97d-8eb81f7bf0a4" xmlns:ns3="d78665ad-f783-4f30-b3cb-b870e5173973" targetNamespace="http://schemas.microsoft.com/office/2006/metadata/properties" ma:root="true" ma:fieldsID="b03d820719e6014dead3958bf2973f6f" ns2:_="" ns3:_="">
    <xsd:import namespace="c068e80e-f499-4ba4-b97d-8eb81f7bf0a4"/>
    <xsd:import namespace="d78665ad-f783-4f30-b3cb-b870e517397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68e80e-f499-4ba4-b97d-8eb81f7bf0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10261dd-85c0-4e16-8580-30375acfae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8665ad-f783-4f30-b3cb-b870e517397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fd4f64d0-3c70-4888-a507-5d4e9df6776e}" ma:internalName="TaxCatchAll" ma:showField="CatchAllData" ma:web="d78665ad-f783-4f30-b3cb-b870e517397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2A938C6-D422-428A-8901-D36A71A3A66F}">
  <ds:schemaRefs>
    <ds:schemaRef ds:uri="http://purl.org/dc/elements/1.1/"/>
    <ds:schemaRef ds:uri="http://schemas.microsoft.com/office/2006/metadata/properties"/>
    <ds:schemaRef ds:uri="http://schemas.microsoft.com/office/infopath/2007/PartnerControls"/>
    <ds:schemaRef ds:uri="180b1fcd-839f-4a26-858f-c876bd57a246"/>
    <ds:schemaRef ds:uri="http://schemas.microsoft.com/office/2006/documentManagement/types"/>
    <ds:schemaRef ds:uri="http://www.w3.org/XML/1998/namespace"/>
    <ds:schemaRef ds:uri="http://purl.org/dc/dcmitype/"/>
    <ds:schemaRef ds:uri="http://schemas.openxmlformats.org/package/2006/metadata/core-properties"/>
    <ds:schemaRef ds:uri="73ca1fc6-0d46-4993-8256-3326399461c5"/>
    <ds:schemaRef ds:uri="http://purl.org/dc/terms/"/>
    <ds:schemaRef ds:uri="d78665ad-f783-4f30-b3cb-b870e5173973"/>
    <ds:schemaRef ds:uri="c068e80e-f499-4ba4-b97d-8eb81f7bf0a4"/>
  </ds:schemaRefs>
</ds:datastoreItem>
</file>

<file path=customXml/itemProps2.xml><?xml version="1.0" encoding="utf-8"?>
<ds:datastoreItem xmlns:ds="http://schemas.openxmlformats.org/officeDocument/2006/customXml" ds:itemID="{2D849882-45D9-49DF-83E9-35AEA65C5D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FF5C609-47B2-4E38-98DE-50447A64B0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068e80e-f499-4ba4-b97d-8eb81f7bf0a4"/>
    <ds:schemaRef ds:uri="d78665ad-f783-4f30-b3cb-b870e517397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</TotalTime>
  <Words>113</Words>
  <Application>Microsoft Macintosh PowerPoint</Application>
  <PresentationFormat>Widescreen</PresentationFormat>
  <Paragraphs>28</Paragraphs>
  <Slides>1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CiscoSans ExtraLight</vt:lpstr>
      <vt:lpstr>CiscoSansTT ExtraLight</vt:lpstr>
      <vt:lpstr>CiscoSansTT Light</vt:lpstr>
      <vt:lpstr>CX Theme 16x9</vt:lpstr>
      <vt:lpstr>1_CX Theme 16x9</vt:lpstr>
      <vt:lpstr>CX Theme 16x9</vt:lpstr>
      <vt:lpstr>think-cell Slide</vt:lpstr>
      <vt:lpstr>Hybrid Application Monitoring (AppDynamics)</vt:lpstr>
      <vt:lpstr>PowerPoint Presentation</vt:lpstr>
      <vt:lpstr>Hybrid Application Monitoring  Pitstop: Onboard</vt:lpstr>
      <vt:lpstr>Pitstop: Onboard resources and documents</vt:lpstr>
      <vt:lpstr>Hybrid Application Monitoring  Pitstop: Implement</vt:lpstr>
      <vt:lpstr>Pitstop: Implement has failed health check best-practices</vt:lpstr>
      <vt:lpstr>Hybrid Application Monitoring  Pitstop: Use</vt:lpstr>
      <vt:lpstr>Pitstop: Use has failed health check best-practices</vt:lpstr>
      <vt:lpstr>Hybrid Application Monitoring  Pitstop: Engage</vt:lpstr>
      <vt:lpstr>Pitstop: Engage has failed health check best-practices</vt:lpstr>
      <vt:lpstr>Hybrid Application Monitoring  Pitstop: Adopt</vt:lpstr>
      <vt:lpstr>Pitstop: Adopt has failed health check best-practices</vt:lpstr>
      <vt:lpstr>Hybrid Application Monitoring  Pitstop: Optimize</vt:lpstr>
      <vt:lpstr>Pitstop: Optimize has failed health check best-practic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Alex Afshar (aleafsha)</cp:lastModifiedBy>
  <cp:revision>195</cp:revision>
  <dcterms:created xsi:type="dcterms:W3CDTF">2021-08-23T20:52:35Z</dcterms:created>
  <dcterms:modified xsi:type="dcterms:W3CDTF">2023-04-21T21:26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638FBC164A6C4987893577CA81BDCE</vt:lpwstr>
  </property>
  <property fmtid="{D5CDD505-2E9C-101B-9397-08002B2CF9AE}" pid="3" name="MediaServiceImageTags">
    <vt:lpwstr/>
  </property>
</Properties>
</file>